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6"/>
  </p:sldMasterIdLst>
  <p:notesMasterIdLst>
    <p:notesMasterId r:id="rId42"/>
  </p:notesMasterIdLst>
  <p:handoutMasterIdLst>
    <p:handoutMasterId r:id="rId43"/>
  </p:handoutMasterIdLst>
  <p:sldIdLst>
    <p:sldId id="287" r:id="rId7"/>
    <p:sldId id="319" r:id="rId8"/>
    <p:sldId id="388" r:id="rId9"/>
    <p:sldId id="349" r:id="rId10"/>
    <p:sldId id="327" r:id="rId11"/>
    <p:sldId id="368" r:id="rId12"/>
    <p:sldId id="372" r:id="rId13"/>
    <p:sldId id="373" r:id="rId14"/>
    <p:sldId id="376" r:id="rId15"/>
    <p:sldId id="371" r:id="rId16"/>
    <p:sldId id="370" r:id="rId17"/>
    <p:sldId id="379" r:id="rId18"/>
    <p:sldId id="374" r:id="rId19"/>
    <p:sldId id="380" r:id="rId20"/>
    <p:sldId id="382" r:id="rId21"/>
    <p:sldId id="381" r:id="rId22"/>
    <p:sldId id="383" r:id="rId23"/>
    <p:sldId id="378" r:id="rId24"/>
    <p:sldId id="353" r:id="rId25"/>
    <p:sldId id="323" r:id="rId26"/>
    <p:sldId id="355" r:id="rId27"/>
    <p:sldId id="384" r:id="rId28"/>
    <p:sldId id="385" r:id="rId29"/>
    <p:sldId id="360" r:id="rId30"/>
    <p:sldId id="324" r:id="rId31"/>
    <p:sldId id="365" r:id="rId32"/>
    <p:sldId id="386" r:id="rId33"/>
    <p:sldId id="367" r:id="rId34"/>
    <p:sldId id="361" r:id="rId35"/>
    <p:sldId id="366" r:id="rId36"/>
    <p:sldId id="389" r:id="rId37"/>
    <p:sldId id="339" r:id="rId38"/>
    <p:sldId id="387" r:id="rId39"/>
    <p:sldId id="354" r:id="rId40"/>
    <p:sldId id="364" r:id="rId41"/>
  </p:sldIdLst>
  <p:sldSz cx="9144000" cy="6858000" type="screen4x3"/>
  <p:notesSz cx="7099300" cy="10234613"/>
  <p:custDataLst>
    <p:tags r:id="rId44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7" userDrawn="1">
          <p15:clr>
            <a:srgbClr val="A4A3A4"/>
          </p15:clr>
        </p15:guide>
        <p15:guide id="2" orient="horz" pos="3629" userDrawn="1">
          <p15:clr>
            <a:srgbClr val="A4A3A4"/>
          </p15:clr>
        </p15:guide>
        <p15:guide id="3" pos="2694" userDrawn="1">
          <p15:clr>
            <a:srgbClr val="A4A3A4"/>
          </p15:clr>
        </p15:guide>
        <p15:guide id="4" pos="1226" userDrawn="1">
          <p15:clr>
            <a:srgbClr val="A4A3A4"/>
          </p15:clr>
        </p15:guide>
        <p15:guide id="5" orient="horz" pos="3612" userDrawn="1">
          <p15:clr>
            <a:srgbClr val="A4A3A4"/>
          </p15:clr>
        </p15:guide>
        <p15:guide id="6" orient="horz" pos="4041" userDrawn="1">
          <p15:clr>
            <a:srgbClr val="A4A3A4"/>
          </p15:clr>
        </p15:guide>
        <p15:guide id="7" orient="horz" pos="3232" userDrawn="1">
          <p15:clr>
            <a:srgbClr val="A4A3A4"/>
          </p15:clr>
        </p15:guide>
        <p15:guide id="8" orient="horz" pos="364" userDrawn="1">
          <p15:clr>
            <a:srgbClr val="A4A3A4"/>
          </p15:clr>
        </p15:guide>
        <p15:guide id="9" orient="horz" pos="1300" userDrawn="1">
          <p15:clr>
            <a:srgbClr val="A4A3A4"/>
          </p15:clr>
        </p15:guide>
        <p15:guide id="10" orient="horz" pos="4102" userDrawn="1">
          <p15:clr>
            <a:srgbClr val="A4A3A4"/>
          </p15:clr>
        </p15:guide>
        <p15:guide id="11" orient="horz" pos="3967" userDrawn="1">
          <p15:clr>
            <a:srgbClr val="A4A3A4"/>
          </p15:clr>
        </p15:guide>
        <p15:guide id="12" orient="horz" pos="3873" userDrawn="1">
          <p15:clr>
            <a:srgbClr val="A4A3A4"/>
          </p15:clr>
        </p15:guide>
        <p15:guide id="13" orient="horz" pos="1111" userDrawn="1">
          <p15:clr>
            <a:srgbClr val="A4A3A4"/>
          </p15:clr>
        </p15:guide>
        <p15:guide id="14" orient="horz" pos="241" userDrawn="1">
          <p15:clr>
            <a:srgbClr val="A4A3A4"/>
          </p15:clr>
        </p15:guide>
        <p15:guide id="15" orient="horz" pos="81" userDrawn="1">
          <p15:clr>
            <a:srgbClr val="A4A3A4"/>
          </p15:clr>
        </p15:guide>
        <p15:guide id="16" orient="horz" pos="758" userDrawn="1">
          <p15:clr>
            <a:srgbClr val="A4A3A4"/>
          </p15:clr>
        </p15:guide>
        <p15:guide id="17" pos="5398" userDrawn="1">
          <p15:clr>
            <a:srgbClr val="A4A3A4"/>
          </p15:clr>
        </p15:guide>
        <p15:guide id="18" pos="200" userDrawn="1">
          <p15:clr>
            <a:srgbClr val="A4A3A4"/>
          </p15:clr>
        </p15:guide>
        <p15:guide id="19" pos="413" userDrawn="1">
          <p15:clr>
            <a:srgbClr val="A4A3A4"/>
          </p15:clr>
        </p15:guide>
        <p15:guide id="20" pos="4689" userDrawn="1">
          <p15:clr>
            <a:srgbClr val="A4A3A4"/>
          </p15:clr>
        </p15:guide>
        <p15:guide id="21" pos="2880" userDrawn="1">
          <p15:clr>
            <a:srgbClr val="A4A3A4"/>
          </p15:clr>
        </p15:guide>
        <p15:guide id="22" pos="4572" userDrawn="1">
          <p15:clr>
            <a:srgbClr val="A4A3A4"/>
          </p15:clr>
        </p15:guide>
        <p15:guide id="23" pos="4827" userDrawn="1">
          <p15:clr>
            <a:srgbClr val="A4A3A4"/>
          </p15:clr>
        </p15:guide>
        <p15:guide id="24" pos="3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39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ggris" initials="t" lastIdx="0" clrIdx="0">
    <p:extLst>
      <p:ext uri="{19B8F6BF-5375-455C-9EA6-DF929625EA0E}">
        <p15:presenceInfo xmlns:p15="http://schemas.microsoft.com/office/powerpoint/2012/main" userId="tiggri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F2BE"/>
    <a:srgbClr val="4C2D85"/>
    <a:srgbClr val="FFFFFF"/>
    <a:srgbClr val="9EC486"/>
    <a:srgbClr val="43B02A"/>
    <a:srgbClr val="225815"/>
    <a:srgbClr val="86DD72"/>
    <a:srgbClr val="C8C8C8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16DA210-FB5B-4158-B5E0-FEB733F419BA}" styleName="Lyst layou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581" autoAdjust="0"/>
    <p:restoredTop sz="93510" autoAdjust="0"/>
  </p:normalViewPr>
  <p:slideViewPr>
    <p:cSldViewPr snapToGrid="0" showGuides="1">
      <p:cViewPr varScale="1">
        <p:scale>
          <a:sx n="63" d="100"/>
          <a:sy n="63" d="100"/>
        </p:scale>
        <p:origin x="1112" y="64"/>
      </p:cViewPr>
      <p:guideLst>
        <p:guide orient="horz" pos="1027"/>
        <p:guide orient="horz" pos="3629"/>
        <p:guide pos="2694"/>
        <p:guide pos="1226"/>
        <p:guide orient="horz" pos="3612"/>
        <p:guide orient="horz" pos="4041"/>
        <p:guide orient="horz" pos="3232"/>
        <p:guide orient="horz" pos="364"/>
        <p:guide orient="horz" pos="1300"/>
        <p:guide orient="horz" pos="4102"/>
        <p:guide orient="horz" pos="3967"/>
        <p:guide orient="horz" pos="3873"/>
        <p:guide orient="horz" pos="1111"/>
        <p:guide orient="horz" pos="241"/>
        <p:guide orient="horz" pos="81"/>
        <p:guide orient="horz" pos="758"/>
        <p:guide pos="5398"/>
        <p:guide pos="200"/>
        <p:guide pos="413"/>
        <p:guide pos="4689"/>
        <p:guide pos="2880"/>
        <p:guide pos="4572"/>
        <p:guide pos="4827"/>
        <p:guide pos="33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-2246" y="2822"/>
      </p:cViewPr>
      <p:guideLst>
        <p:guide orient="horz" pos="3239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iasnummer 2"/>
          <p:cNvSpPr>
            <a:spLocks noGrp="1"/>
          </p:cNvSpPr>
          <p:nvPr>
            <p:ph type="sldNum" sz="quarter" idx="3"/>
          </p:nvPr>
        </p:nvSpPr>
        <p:spPr>
          <a:xfrm>
            <a:off x="5591331" y="9721850"/>
            <a:ext cx="1506382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a-DK" sz="1000" dirty="0"/>
              <a:t>Side </a:t>
            </a:r>
            <a:fld id="{0827FFB8-6CA7-4B8D-A8B9-7E4E6AA2792A}" type="slidenum">
              <a:rPr lang="da-DK" sz="1000" smtClean="0"/>
              <a:t>‹#›</a:t>
            </a:fld>
            <a:endParaRPr lang="da-DK" sz="10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099" y="264001"/>
            <a:ext cx="896367" cy="300878"/>
          </a:xfrm>
          <a:prstGeom prst="rect">
            <a:avLst/>
          </a:prstGeom>
        </p:spPr>
      </p:pic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sz="1000" dirty="0"/>
          </a:p>
        </p:txBody>
      </p:sp>
    </p:spTree>
    <p:extLst>
      <p:ext uri="{BB962C8B-B14F-4D97-AF65-F5344CB8AC3E}">
        <p14:creationId xmlns:p14="http://schemas.microsoft.com/office/powerpoint/2010/main" val="142480490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E953209-2B3B-4088-A9BA-47F14C1BB297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099" y="264001"/>
            <a:ext cx="896367" cy="300878"/>
          </a:xfrm>
          <a:prstGeom prst="rect">
            <a:avLst/>
          </a:prstGeom>
        </p:spPr>
      </p:pic>
      <p:sp>
        <p:nvSpPr>
          <p:cNvPr id="3" name="Pladsholder til sidefod 2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78502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8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6512" cy="38369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001713" y="4860927"/>
            <a:ext cx="5294312" cy="4673598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da-DK" b="1" noProof="0" dirty="0"/>
          </a:p>
        </p:txBody>
      </p:sp>
      <p:sp>
        <p:nvSpPr>
          <p:cNvPr id="8" name="Pladsholder til diasnummer 3"/>
          <p:cNvSpPr txBox="1">
            <a:spLocks/>
          </p:cNvSpPr>
          <p:nvPr/>
        </p:nvSpPr>
        <p:spPr>
          <a:xfrm>
            <a:off x="4022725" y="9685336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fld id="{CE953209-2B3B-4088-A9BA-47F14C1BB297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69105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92042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9997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8724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defTabSz="868771">
              <a:buFontTx/>
              <a:buNone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857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3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63120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defTabSz="868771">
              <a:buFontTx/>
              <a:buNone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484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36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2383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72093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74937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82340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760339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42142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/>
          <a:lstStyle/>
          <a:p>
            <a:endParaRPr lang="da-DK" sz="1000" kern="1200" baseline="0" dirty="0">
              <a:solidFill>
                <a:schemeClr val="tx1"/>
              </a:solidFill>
              <a:effectLst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53209-2B3B-4088-A9BA-47F14C1BB297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4994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_indsæt logo og billed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3959225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306000" tIns="1296000">
            <a:norm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568644" y="2852154"/>
            <a:ext cx="3589336" cy="650875"/>
          </a:xfrm>
        </p:spPr>
        <p:txBody>
          <a:bodyPr lIns="72000">
            <a:normAutofit/>
          </a:bodyPr>
          <a:lstStyle>
            <a:lvl1pPr marL="0" indent="0">
              <a:buNone/>
              <a:defRPr sz="1400" b="1" cap="all" baseline="0">
                <a:solidFill>
                  <a:srgbClr val="43B02A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827" y="3048635"/>
            <a:ext cx="21812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boks 8"/>
          <p:cNvSpPr txBox="1"/>
          <p:nvPr userDrawn="1"/>
        </p:nvSpPr>
        <p:spPr>
          <a:xfrm>
            <a:off x="9245601" y="457200"/>
            <a:ext cx="3028393" cy="193899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sz="1000" b="1" dirty="0"/>
              <a:t>Indsæt billede:</a:t>
            </a:r>
            <a:endParaRPr lang="da-DK" sz="1000" dirty="0"/>
          </a:p>
          <a:p>
            <a:r>
              <a:rPr lang="da-DK" sz="1000" dirty="0"/>
              <a:t>Klik på ikonet for at indsætte billede. </a:t>
            </a:r>
          </a:p>
          <a:p>
            <a:r>
              <a:rPr lang="da-DK" sz="1000" dirty="0"/>
              <a:t>Når du har indsat billede, </a:t>
            </a:r>
            <a:r>
              <a:rPr lang="da-DK" sz="1000" dirty="0" err="1"/>
              <a:t>højreklik</a:t>
            </a:r>
            <a:r>
              <a:rPr lang="da-DK" sz="1000" dirty="0"/>
              <a:t> </a:t>
            </a:r>
          </a:p>
          <a:p>
            <a:r>
              <a:rPr lang="da-DK" sz="1000" dirty="0"/>
              <a:t>på billedet og vælg ”Placer bagest”</a:t>
            </a:r>
          </a:p>
          <a:p>
            <a:endParaRPr lang="da-DK" sz="1000" dirty="0"/>
          </a:p>
          <a:p>
            <a:r>
              <a:rPr lang="da-DK" sz="1000" b="1" dirty="0"/>
              <a:t>Skift</a:t>
            </a:r>
            <a:r>
              <a:rPr lang="da-DK" sz="1000" b="1" baseline="0" dirty="0"/>
              <a:t> logo</a:t>
            </a:r>
          </a:p>
          <a:p>
            <a:r>
              <a:rPr lang="da-DK" sz="1000" b="0" baseline="0" dirty="0" err="1"/>
              <a:t>Højreklik</a:t>
            </a:r>
            <a:r>
              <a:rPr lang="da-DK" sz="1000" b="0" baseline="0" dirty="0"/>
              <a:t> logo og vælg ”Skift billede” </a:t>
            </a:r>
            <a:br>
              <a:rPr lang="da-DK" sz="1000" b="0" baseline="0" dirty="0"/>
            </a:br>
            <a:r>
              <a:rPr lang="da-DK" sz="1000" b="0" baseline="0" dirty="0"/>
              <a:t>(indsæt ønsket logo)</a:t>
            </a:r>
          </a:p>
          <a:p>
            <a:endParaRPr lang="da-DK" sz="1000" b="0" baseline="0" dirty="0"/>
          </a:p>
          <a:p>
            <a:r>
              <a:rPr lang="da-DK" sz="1000" b="0" baseline="0" dirty="0"/>
              <a:t>Hvis denne slide vælges fra fanen ”Layout”:</a:t>
            </a:r>
          </a:p>
          <a:p>
            <a:r>
              <a:rPr lang="da-DK" sz="1000" b="0" baseline="0" dirty="0"/>
              <a:t>Indsæt logo, gå til fanen ”Beskær” og vælg</a:t>
            </a:r>
          </a:p>
          <a:p>
            <a:r>
              <a:rPr lang="da-DK" sz="1000" b="0" baseline="0" dirty="0"/>
              <a:t>”Tilpas”</a:t>
            </a:r>
          </a:p>
        </p:txBody>
      </p:sp>
    </p:spTree>
    <p:extLst>
      <p:ext uri="{BB962C8B-B14F-4D97-AF65-F5344CB8AC3E}">
        <p14:creationId xmlns:p14="http://schemas.microsoft.com/office/powerpoint/2010/main" val="702892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. tre tekstboks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522678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3338391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8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6154105" y="1492250"/>
            <a:ext cx="2415221" cy="3657212"/>
          </a:xfrm>
          <a:solidFill>
            <a:schemeClr val="tx2"/>
          </a:solidFill>
        </p:spPr>
        <p:txBody>
          <a:bodyPr lIns="144000" tIns="144000"/>
          <a:lstStyle>
            <a:lvl1pPr marL="177800" indent="-177800">
              <a:spcAft>
                <a:spcPts val="0"/>
              </a:spcAft>
              <a:buClr>
                <a:schemeClr val="bg1"/>
              </a:buClr>
              <a:buFont typeface="Verdana" panose="020B0604030504040204" pitchFamily="34" charset="0"/>
              <a:buChar char="_"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57095598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. fire hvide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2"/>
            <a:ext cx="7443787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522677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9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2573576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4624475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1" name="Pladsholder til tekst 5"/>
          <p:cNvSpPr>
            <a:spLocks noGrp="1"/>
          </p:cNvSpPr>
          <p:nvPr>
            <p:ph type="body" sz="quarter" idx="16"/>
          </p:nvPr>
        </p:nvSpPr>
        <p:spPr>
          <a:xfrm>
            <a:off x="6675374" y="1492250"/>
            <a:ext cx="1893951" cy="3657212"/>
          </a:xfrm>
          <a:noFill/>
          <a:ln w="19050">
            <a:solidFill>
              <a:schemeClr val="tx2"/>
            </a:solidFill>
          </a:ln>
        </p:spPr>
        <p:txBody>
          <a:bodyPr lIns="144000" tIns="14400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71090545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u. str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Rektangel 5"/>
          <p:cNvSpPr/>
          <p:nvPr userDrawn="1"/>
        </p:nvSpPr>
        <p:spPr bwMode="auto">
          <a:xfrm>
            <a:off x="467361" y="1087122"/>
            <a:ext cx="8219440" cy="34073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788628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 dias m.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Rektangel 4"/>
          <p:cNvSpPr/>
          <p:nvPr userDrawn="1"/>
        </p:nvSpPr>
        <p:spPr bwMode="auto">
          <a:xfrm>
            <a:off x="243840" y="863602"/>
            <a:ext cx="8757920" cy="34073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33808"/>
      </p:ext>
    </p:extLst>
  </p:cSld>
  <p:clrMapOvr>
    <a:masterClrMapping/>
  </p:clrMapOvr>
  <p:transition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to hvid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95388"/>
            <a:ext cx="9144000" cy="5672136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4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531813" y="1492252"/>
            <a:ext cx="3744912" cy="4241799"/>
          </a:xfrm>
          <a:solidFill>
            <a:schemeClr val="bg1">
              <a:alpha val="89804"/>
            </a:schemeClr>
          </a:solidFill>
        </p:spPr>
        <p:txBody>
          <a:bodyPr lIns="108000" tIns="180000" rIns="108000" bIns="108000"/>
          <a:lstStyle>
            <a:lvl1pPr marL="176213" indent="-176213">
              <a:spcBef>
                <a:spcPts val="1200"/>
              </a:spcBef>
              <a:spcAft>
                <a:spcPts val="0"/>
              </a:spcAft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Pladsholder til dias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8"/>
          </p:nvPr>
        </p:nvSpPr>
        <p:spPr>
          <a:xfrm>
            <a:off x="4813301" y="1492250"/>
            <a:ext cx="3744912" cy="4241800"/>
          </a:xfrm>
          <a:solidFill>
            <a:schemeClr val="bg1">
              <a:alpha val="89804"/>
            </a:schemeClr>
          </a:solidFill>
        </p:spPr>
        <p:txBody>
          <a:bodyPr lIns="108000" tIns="180000" rIns="108000" bIns="108000"/>
          <a:lstStyle>
            <a:lvl1pPr marL="176213" indent="-176213">
              <a:spcBef>
                <a:spcPts val="1200"/>
              </a:spcBef>
              <a:spcAft>
                <a:spcPts val="0"/>
              </a:spcAft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690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tr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242169" y="2063750"/>
            <a:ext cx="2592000" cy="2592000"/>
          </a:xfrm>
          <a:solidFill>
            <a:schemeClr val="tx1">
              <a:alpha val="85000"/>
            </a:scheme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5"/>
            <a:ext cx="9144000" cy="5654674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2288" y="2063750"/>
            <a:ext cx="2592000" cy="2592000"/>
          </a:xfrm>
          <a:solidFill>
            <a:srgbClr val="43B02A">
              <a:alpha val="85000"/>
            </a:srgb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5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5962050" y="2063750"/>
            <a:ext cx="2592000" cy="2592000"/>
          </a:xfrm>
          <a:solidFill>
            <a:srgbClr val="43B02A">
              <a:alpha val="85000"/>
            </a:srgbClr>
          </a:solidFill>
        </p:spPr>
        <p:txBody>
          <a:bodyPr lIns="108000" tIns="180000" rIns="108000" bIns="10800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Pladsholder til diasnumm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263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ggrundsbillede og tre hvide tekstboks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12"/>
          <p:cNvSpPr>
            <a:spLocks noGrp="1"/>
          </p:cNvSpPr>
          <p:nvPr>
            <p:ph type="body" sz="quarter" idx="14"/>
          </p:nvPr>
        </p:nvSpPr>
        <p:spPr>
          <a:xfrm>
            <a:off x="3340600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6"/>
            <a:ext cx="9144000" cy="565467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 rIns="0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3875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9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6157325" y="1554361"/>
            <a:ext cx="2412000" cy="4458561"/>
          </a:xfrm>
          <a:solidFill>
            <a:srgbClr val="FFFFFF">
              <a:alpha val="85000"/>
            </a:srgbClr>
          </a:solidFill>
        </p:spPr>
        <p:txBody>
          <a:bodyPr lIns="108000" tIns="108000" rIns="108000" bIns="10800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0" name="Pladsholder til tekst 12"/>
          <p:cNvSpPr>
            <a:spLocks noGrp="1" noChangeAspect="1"/>
          </p:cNvSpPr>
          <p:nvPr>
            <p:ph type="body" sz="quarter" idx="18"/>
          </p:nvPr>
        </p:nvSpPr>
        <p:spPr>
          <a:xfrm>
            <a:off x="522288" y="1485209"/>
            <a:ext cx="241761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21" name="Pladsholder til tekst 12"/>
          <p:cNvSpPr>
            <a:spLocks noGrp="1" noChangeAspect="1"/>
          </p:cNvSpPr>
          <p:nvPr>
            <p:ph type="body" sz="quarter" idx="19"/>
          </p:nvPr>
        </p:nvSpPr>
        <p:spPr>
          <a:xfrm>
            <a:off x="3338338" y="1485209"/>
            <a:ext cx="241200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22" name="Pladsholder til tekst 12"/>
          <p:cNvSpPr>
            <a:spLocks noGrp="1" noChangeAspect="1"/>
          </p:cNvSpPr>
          <p:nvPr>
            <p:ph type="body" sz="quarter" idx="20"/>
          </p:nvPr>
        </p:nvSpPr>
        <p:spPr>
          <a:xfrm>
            <a:off x="6151413" y="1485209"/>
            <a:ext cx="2412000" cy="72000"/>
          </a:xfrm>
          <a:solidFill>
            <a:srgbClr val="43B02A">
              <a:alpha val="85000"/>
            </a:srgbClr>
          </a:solidFill>
        </p:spPr>
        <p:txBody>
          <a:bodyPr lIns="0" tIns="0" rIns="0" bIns="0" anchor="ctr"/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655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og fire hvide tekstbokse m. titel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6"/>
            <a:ext cx="9144000" cy="5654674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25" name="Titel 5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9255760" y="284220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Tilføj tekst</a:t>
            </a: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18"/>
          </p:nvPr>
        </p:nvSpPr>
        <p:spPr>
          <a:xfrm>
            <a:off x="2579688" y="1540773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7" name="Pladsholder til tekst 12"/>
          <p:cNvSpPr>
            <a:spLocks noGrp="1"/>
          </p:cNvSpPr>
          <p:nvPr>
            <p:ph type="body" sz="quarter" idx="19"/>
          </p:nvPr>
        </p:nvSpPr>
        <p:spPr>
          <a:xfrm>
            <a:off x="4635501" y="1536012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8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523875" y="1534837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 algn="l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29" name="Pladsholder til tekst 12"/>
          <p:cNvSpPr>
            <a:spLocks noGrp="1"/>
          </p:cNvSpPr>
          <p:nvPr>
            <p:ph type="body" sz="quarter" idx="20"/>
          </p:nvPr>
        </p:nvSpPr>
        <p:spPr>
          <a:xfrm>
            <a:off x="6691313" y="1540776"/>
            <a:ext cx="1872000" cy="4256087"/>
          </a:xfrm>
          <a:solidFill>
            <a:srgbClr val="FFFFFF">
              <a:alpha val="85000"/>
            </a:srgbClr>
          </a:solidFill>
          <a:ln>
            <a:noFill/>
          </a:ln>
        </p:spPr>
        <p:txBody>
          <a:bodyPr lIns="108000" tIns="108000" rIns="108000" bIns="108000"/>
          <a:lstStyle>
            <a:lvl1pPr marL="180975" indent="-180975">
              <a:buFont typeface="Verdana" panose="020B0604030504040204" pitchFamily="34" charset="0"/>
              <a:buChar char="_"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30" name="Pladsholder til tekst 12"/>
          <p:cNvSpPr>
            <a:spLocks noGrp="1" noChangeAspect="1"/>
          </p:cNvSpPr>
          <p:nvPr>
            <p:ph type="body" sz="quarter" idx="21"/>
          </p:nvPr>
        </p:nvSpPr>
        <p:spPr>
          <a:xfrm>
            <a:off x="522288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1" name="Pladsholder til tekst 12"/>
          <p:cNvSpPr>
            <a:spLocks noGrp="1" noChangeAspect="1"/>
          </p:cNvSpPr>
          <p:nvPr>
            <p:ph type="body" sz="quarter" idx="22"/>
          </p:nvPr>
        </p:nvSpPr>
        <p:spPr>
          <a:xfrm>
            <a:off x="2579528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wrap="none"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2" name="Pladsholder til tekst 12"/>
          <p:cNvSpPr>
            <a:spLocks noGrp="1" noChangeAspect="1"/>
          </p:cNvSpPr>
          <p:nvPr>
            <p:ph type="body" sz="quarter" idx="23"/>
          </p:nvPr>
        </p:nvSpPr>
        <p:spPr>
          <a:xfrm>
            <a:off x="4638070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33" name="Pladsholder til tekst 12"/>
          <p:cNvSpPr>
            <a:spLocks noGrp="1" noChangeAspect="1"/>
          </p:cNvSpPr>
          <p:nvPr>
            <p:ph type="body" sz="quarter" idx="24"/>
          </p:nvPr>
        </p:nvSpPr>
        <p:spPr>
          <a:xfrm>
            <a:off x="6691127" y="1482727"/>
            <a:ext cx="1872000" cy="55875"/>
          </a:xfrm>
          <a:solidFill>
            <a:srgbClr val="43B02A">
              <a:alpha val="85000"/>
            </a:srgbClr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0" indent="0">
              <a:buNone/>
              <a:defRPr/>
            </a:lvl2pPr>
            <a:lvl3pPr marL="165100" indent="0">
              <a:buNone/>
              <a:defRPr/>
            </a:lvl3pPr>
            <a:lvl4pPr marL="357187" indent="0">
              <a:buNone/>
              <a:defRPr/>
            </a:lvl4pPr>
            <a:lvl5pPr marL="501650" indent="0">
              <a:buNone/>
              <a:defRPr/>
            </a:lvl5pPr>
          </a:lstStyle>
          <a:p>
            <a:pPr lvl="0"/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2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ggrundsbillede u. tekst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203324"/>
            <a:ext cx="9144000" cy="5654676"/>
          </a:xfrm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" y="1"/>
            <a:ext cx="7443788" cy="932176"/>
          </a:xfrm>
          <a:noFill/>
        </p:spPr>
        <p:txBody>
          <a:bodyPr rIns="0"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8" name="Tekstboks 7"/>
          <p:cNvSpPr txBox="1"/>
          <p:nvPr userDrawn="1"/>
        </p:nvSpPr>
        <p:spPr>
          <a:xfrm>
            <a:off x="9255760" y="2354522"/>
            <a:ext cx="23469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indent="0">
              <a:spcBef>
                <a:spcPts val="120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None/>
            </a:pPr>
            <a:r>
              <a:rPr lang="da-DK" sz="1000" dirty="0"/>
              <a:t>Indsæt</a:t>
            </a:r>
            <a:r>
              <a:rPr lang="da-DK" sz="1000" baseline="0" dirty="0"/>
              <a:t> billede og placer bagest</a:t>
            </a:r>
            <a:endParaRPr lang="da-DK" sz="100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59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t dia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839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_indsæt logo og billed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800"/>
            </a:lvl1pPr>
          </a:lstStyle>
          <a:p>
            <a:r>
              <a:rPr lang="da-DK" dirty="0"/>
              <a:t>Billede</a:t>
            </a:r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3959225" cy="6858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306000" tIns="1296000">
            <a:norm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568644" y="2852154"/>
            <a:ext cx="3589336" cy="650875"/>
          </a:xfrm>
        </p:spPr>
        <p:txBody>
          <a:bodyPr lIns="72000">
            <a:normAutofit/>
          </a:bodyPr>
          <a:lstStyle>
            <a:lvl1pPr marL="0" indent="0">
              <a:buNone/>
              <a:defRPr sz="1400" b="1" cap="all" baseline="0">
                <a:solidFill>
                  <a:srgbClr val="43B02A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827" y="3048635"/>
            <a:ext cx="21812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boks 8"/>
          <p:cNvSpPr txBox="1"/>
          <p:nvPr userDrawn="1"/>
        </p:nvSpPr>
        <p:spPr>
          <a:xfrm>
            <a:off x="9245601" y="457200"/>
            <a:ext cx="3028393" cy="193899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sz="1000" b="1" dirty="0"/>
              <a:t>Indsæt billede:</a:t>
            </a:r>
            <a:endParaRPr lang="da-DK" sz="1000" dirty="0"/>
          </a:p>
          <a:p>
            <a:r>
              <a:rPr lang="da-DK" sz="1000" dirty="0"/>
              <a:t>Klik på ikonet for at indsætte billede. </a:t>
            </a:r>
          </a:p>
          <a:p>
            <a:r>
              <a:rPr lang="da-DK" sz="1000" dirty="0"/>
              <a:t>Når du har indsat billede, </a:t>
            </a:r>
            <a:r>
              <a:rPr lang="da-DK" sz="1000" dirty="0" err="1"/>
              <a:t>højreklik</a:t>
            </a:r>
            <a:r>
              <a:rPr lang="da-DK" sz="1000" dirty="0"/>
              <a:t> </a:t>
            </a:r>
          </a:p>
          <a:p>
            <a:r>
              <a:rPr lang="da-DK" sz="1000" dirty="0"/>
              <a:t>på billedet og vælg ”Placer bagest”</a:t>
            </a:r>
          </a:p>
          <a:p>
            <a:endParaRPr lang="da-DK" sz="1000" dirty="0"/>
          </a:p>
          <a:p>
            <a:r>
              <a:rPr lang="da-DK" sz="1000" b="1" dirty="0"/>
              <a:t>Skift</a:t>
            </a:r>
            <a:r>
              <a:rPr lang="da-DK" sz="1000" b="1" baseline="0" dirty="0"/>
              <a:t> logo</a:t>
            </a:r>
          </a:p>
          <a:p>
            <a:r>
              <a:rPr lang="da-DK" sz="1000" b="0" baseline="0" dirty="0" err="1"/>
              <a:t>Højreklik</a:t>
            </a:r>
            <a:r>
              <a:rPr lang="da-DK" sz="1000" b="0" baseline="0" dirty="0"/>
              <a:t> logo og vælg ”Skift billede” </a:t>
            </a:r>
            <a:br>
              <a:rPr lang="da-DK" sz="1000" b="0" baseline="0" dirty="0"/>
            </a:br>
            <a:r>
              <a:rPr lang="da-DK" sz="1000" b="0" baseline="0" dirty="0"/>
              <a:t>(indsæt ønsket logo)</a:t>
            </a:r>
          </a:p>
          <a:p>
            <a:endParaRPr lang="da-DK" sz="1000" b="0" baseline="0" dirty="0"/>
          </a:p>
          <a:p>
            <a:r>
              <a:rPr lang="da-DK" sz="1000" b="0" baseline="0" dirty="0"/>
              <a:t>Hvis denne slide vælges fra fanen ”Layout”:</a:t>
            </a:r>
          </a:p>
          <a:p>
            <a:r>
              <a:rPr lang="da-DK" sz="1000" b="0" baseline="0" dirty="0"/>
              <a:t>Indsæt logo, gå til fanen ”Beskær” og vælg</a:t>
            </a:r>
          </a:p>
          <a:p>
            <a:r>
              <a:rPr lang="da-DK" sz="1000" b="0" baseline="0" dirty="0"/>
              <a:t>”Tilpas”</a:t>
            </a:r>
          </a:p>
        </p:txBody>
      </p:sp>
    </p:spTree>
    <p:extLst>
      <p:ext uri="{BB962C8B-B14F-4D97-AF65-F5344CB8AC3E}">
        <p14:creationId xmlns:p14="http://schemas.microsoft.com/office/powerpoint/2010/main" val="1507807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_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9" y="5515515"/>
            <a:ext cx="9154159" cy="1352647"/>
          </a:xfrm>
          <a:prstGeom prst="rect">
            <a:avLst/>
          </a:prstGeom>
        </p:spPr>
      </p:pic>
      <p:sp>
        <p:nvSpPr>
          <p:cNvPr id="14" name="Pladsholder til indhold 13"/>
          <p:cNvSpPr>
            <a:spLocks noGrp="1"/>
          </p:cNvSpPr>
          <p:nvPr>
            <p:ph sz="quarter" idx="13"/>
          </p:nvPr>
        </p:nvSpPr>
        <p:spPr>
          <a:xfrm>
            <a:off x="522289" y="1492250"/>
            <a:ext cx="8047037" cy="3946526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8163" indent="-179388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3pPr>
            <a:lvl4pPr marL="8048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1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602163" y="6297613"/>
            <a:ext cx="3195320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07643" y="6297613"/>
            <a:ext cx="761683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ktangel 16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©KMD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-10159" y="2"/>
            <a:ext cx="745394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832697091"/>
      </p:ext>
    </p:extLst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o indholdsobjekter_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59" y="5515515"/>
            <a:ext cx="9154159" cy="135264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0159" y="2"/>
            <a:ext cx="745394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1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602163" y="6297613"/>
            <a:ext cx="3195320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07643" y="6297613"/>
            <a:ext cx="761683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1"/>
          </p:nvPr>
        </p:nvSpPr>
        <p:spPr>
          <a:xfrm>
            <a:off x="522289" y="1492252"/>
            <a:ext cx="3754437" cy="3638549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8" name="Pladsholder til indhold 7"/>
          <p:cNvSpPr>
            <a:spLocks noGrp="1"/>
          </p:cNvSpPr>
          <p:nvPr>
            <p:ph sz="quarter" idx="12"/>
          </p:nvPr>
        </p:nvSpPr>
        <p:spPr>
          <a:xfrm>
            <a:off x="4567238" y="1492252"/>
            <a:ext cx="4002087" cy="3638549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14" name="Rektangel 13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©KMD</a:t>
            </a:r>
          </a:p>
        </p:txBody>
      </p:sp>
    </p:spTree>
    <p:extLst>
      <p:ext uri="{BB962C8B-B14F-4D97-AF65-F5344CB8AC3E}">
        <p14:creationId xmlns:p14="http://schemas.microsoft.com/office/powerpoint/2010/main" val="2719454580"/>
      </p:ext>
    </p:extLst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7510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1" y="274644"/>
            <a:ext cx="8229601" cy="715961"/>
          </a:xfrm>
        </p:spPr>
        <p:txBody>
          <a:bodyPr>
            <a:normAutofit/>
          </a:bodyPr>
          <a:lstStyle>
            <a:lvl1pPr algn="l">
              <a:defRPr sz="27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627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den billede m. logo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00"/>
          </a:p>
        </p:txBody>
      </p:sp>
      <p:sp>
        <p:nvSpPr>
          <p:cNvPr id="17" name="Titel 1"/>
          <p:cNvSpPr>
            <a:spLocks noGrp="1"/>
          </p:cNvSpPr>
          <p:nvPr>
            <p:ph type="ctrTitle" hasCustomPrompt="1"/>
          </p:nvPr>
        </p:nvSpPr>
        <p:spPr>
          <a:xfrm>
            <a:off x="317501" y="0"/>
            <a:ext cx="4965700" cy="5734050"/>
          </a:xfrm>
          <a:solidFill>
            <a:schemeClr val="tx2">
              <a:alpha val="89804"/>
            </a:schemeClr>
          </a:solidFill>
        </p:spPr>
        <p:txBody>
          <a:bodyPr lIns="180000" tIns="468000" rIns="180000">
            <a:norm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26" name="Pladsholder til tekst 30"/>
          <p:cNvSpPr>
            <a:spLocks noGrp="1"/>
          </p:cNvSpPr>
          <p:nvPr>
            <p:ph type="body" sz="quarter" idx="11" hasCustomPrompt="1"/>
          </p:nvPr>
        </p:nvSpPr>
        <p:spPr>
          <a:xfrm>
            <a:off x="337821" y="2336534"/>
            <a:ext cx="4925060" cy="650875"/>
          </a:xfrm>
        </p:spPr>
        <p:txBody>
          <a:bodyPr lIns="180000" rIns="180000">
            <a:norm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da-DK" dirty="0"/>
              <a:t>KLIK, TILFØJ UNDERTITEL</a:t>
            </a: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6620" y="373063"/>
            <a:ext cx="881594" cy="30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736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7443788" cy="932177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SPP_Klassifikation"/>
          <p:cNvSpPr txBox="1"/>
          <p:nvPr userDrawn="1"/>
        </p:nvSpPr>
        <p:spPr>
          <a:xfrm>
            <a:off x="324863" y="6466108"/>
            <a:ext cx="2031393" cy="14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algn="r">
              <a:lnSpc>
                <a:spcPts val="400"/>
              </a:lnSpc>
              <a:spcBef>
                <a:spcPts val="0"/>
              </a:spcBef>
              <a:defRPr sz="700" cap="all" baseline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da-DK" sz="500">
                <a:solidFill>
                  <a:schemeClr val="bg1"/>
                </a:solidFill>
              </a:rPr>
              <a:t>Internt</a:t>
            </a:r>
            <a:endParaRPr lang="da-DK" sz="500" dirty="0">
              <a:solidFill>
                <a:schemeClr val="bg1"/>
              </a:solidFill>
            </a:endParaRPr>
          </a:p>
        </p:txBody>
      </p:sp>
      <p:sp>
        <p:nvSpPr>
          <p:cNvPr id="11" name="SPP_Selskab"/>
          <p:cNvSpPr txBox="1"/>
          <p:nvPr userDrawn="1"/>
        </p:nvSpPr>
        <p:spPr>
          <a:xfrm>
            <a:off x="327025" y="6374668"/>
            <a:ext cx="2031393" cy="121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algn="r">
              <a:lnSpc>
                <a:spcPts val="400"/>
              </a:lnSpc>
              <a:spcBef>
                <a:spcPts val="0"/>
              </a:spcBef>
              <a:defRPr sz="700" cap="all" baseline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da-DK" sz="500">
                <a:solidFill>
                  <a:schemeClr val="bg1"/>
                </a:solidFill>
              </a:rPr>
              <a:t>KMD A/S</a:t>
            </a:r>
            <a:endParaRPr lang="da-DK" sz="500" dirty="0">
              <a:solidFill>
                <a:schemeClr val="bg1"/>
              </a:solidFill>
            </a:endParaRPr>
          </a:p>
        </p:txBody>
      </p:sp>
      <p:sp>
        <p:nvSpPr>
          <p:cNvPr id="14" name="Pladsholder til indhold 13"/>
          <p:cNvSpPr>
            <a:spLocks noGrp="1"/>
          </p:cNvSpPr>
          <p:nvPr>
            <p:ph sz="quarter" idx="13"/>
          </p:nvPr>
        </p:nvSpPr>
        <p:spPr>
          <a:xfrm>
            <a:off x="522289" y="1376363"/>
            <a:ext cx="8047037" cy="4357686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8163" indent="-179388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3pPr>
            <a:lvl4pPr marL="8048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35879264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 og to indholdsobjek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2289" y="1492250"/>
            <a:ext cx="3754437" cy="4260462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600"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9750" indent="-192088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200" baseline="0"/>
            </a:lvl3pPr>
            <a:lvl4pPr marL="72231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 baseline="0"/>
            </a:lvl4pPr>
            <a:lvl5pPr marL="787400" indent="-285750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sz="1200" dirty="0"/>
              <a:t>Fjerde niveau</a:t>
            </a:r>
            <a:endParaRPr lang="da-DK" dirty="0"/>
          </a:p>
          <a:p>
            <a:pPr lvl="2"/>
            <a:endParaRPr lang="da-DK" dirty="0"/>
          </a:p>
          <a:p>
            <a:pPr lvl="2"/>
            <a:endParaRPr lang="da-DK" dirty="0"/>
          </a:p>
          <a:p>
            <a:pPr lvl="4"/>
            <a:endParaRPr lang="da-DK" sz="1400" dirty="0"/>
          </a:p>
          <a:p>
            <a:pPr lvl="3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492250"/>
            <a:ext cx="3997325" cy="4260462"/>
          </a:xfrm>
        </p:spPr>
        <p:txBody>
          <a:bodyPr/>
          <a:lstStyle>
            <a:lvl1pPr marL="18256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600"/>
            </a:lvl1pPr>
            <a:lvl2pPr marL="357188" indent="-182563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400"/>
            </a:lvl2pPr>
            <a:lvl3pPr marL="539750" indent="-192088">
              <a:spcBef>
                <a:spcPts val="1200"/>
              </a:spcBef>
              <a:buClr>
                <a:schemeClr val="tx2"/>
              </a:buClr>
              <a:buSzPct val="100000"/>
              <a:buFont typeface="Verdana" panose="020B0604030504040204" pitchFamily="34" charset="0"/>
              <a:buChar char="_"/>
              <a:defRPr sz="1200"/>
            </a:lvl3pPr>
            <a:lvl4pPr marL="722313" indent="-182563">
              <a:spcBef>
                <a:spcPts val="1200"/>
              </a:spcBef>
              <a:buClr>
                <a:schemeClr val="tx2"/>
              </a:buClr>
              <a:buFont typeface="Verdana" panose="020B0604030504040204" pitchFamily="34" charset="0"/>
              <a:buChar char="_"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sz="1200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2"/>
            <a:endParaRPr lang="da-DK" dirty="0"/>
          </a:p>
          <a:p>
            <a:pPr lvl="2"/>
            <a:endParaRPr lang="da-DK" dirty="0"/>
          </a:p>
          <a:p>
            <a:pPr lvl="3"/>
            <a:endParaRPr lang="da-DK" dirty="0"/>
          </a:p>
          <a:p>
            <a:pPr lvl="2"/>
            <a:endParaRPr lang="da-DK" sz="1400" dirty="0"/>
          </a:p>
          <a:p>
            <a:pPr lvl="3"/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</p:spTree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 m. boks t.h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22289" y="1492250"/>
            <a:ext cx="3754437" cy="4260462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492250"/>
            <a:ext cx="3997325" cy="365721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5"/>
          </p:nvPr>
        </p:nvSpPr>
        <p:spPr>
          <a:xfrm>
            <a:off x="6249878" y="4119230"/>
            <a:ext cx="1990945" cy="2023143"/>
          </a:xfrm>
          <a:solidFill>
            <a:srgbClr val="43B02A">
              <a:alpha val="85000"/>
            </a:srgbClr>
          </a:solidFill>
        </p:spPr>
        <p:txBody>
          <a:bodyPr lIns="108000" tIns="144000" rIns="108000" bIns="144000"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560312986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 m. boks t.v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4572001" y="1492251"/>
            <a:ext cx="3997325" cy="4252913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522677" y="1492250"/>
            <a:ext cx="3735387" cy="3638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8" name="Pladsholder til tekst 9"/>
          <p:cNvSpPr>
            <a:spLocks noGrp="1"/>
          </p:cNvSpPr>
          <p:nvPr>
            <p:ph type="body" sz="quarter" idx="15"/>
          </p:nvPr>
        </p:nvSpPr>
        <p:spPr>
          <a:xfrm>
            <a:off x="865078" y="4119230"/>
            <a:ext cx="1990945" cy="2023143"/>
          </a:xfrm>
          <a:solidFill>
            <a:srgbClr val="43B02A">
              <a:alpha val="85000"/>
            </a:srgbClr>
          </a:solidFill>
        </p:spPr>
        <p:txBody>
          <a:bodyPr lIns="108000" tIns="144000" rIns="108000" bIns="144000"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979974893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  <a:noFill/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522289" y="1492250"/>
            <a:ext cx="3754437" cy="4241800"/>
          </a:xfrm>
        </p:spPr>
        <p:txBody>
          <a:bodyPr/>
          <a:lstStyle>
            <a:lvl2pPr marL="182563" indent="-182563">
              <a:buClr>
                <a:schemeClr val="tx1"/>
              </a:buClr>
              <a:buSzPct val="100000"/>
              <a:buFont typeface="Verdana" panose="020B0604030504040204" pitchFamily="34" charset="0"/>
              <a:buChar char="_"/>
              <a:defRPr/>
            </a:lvl2pPr>
          </a:lstStyle>
          <a:p>
            <a:pPr lvl="0"/>
            <a:r>
              <a:rPr lang="da-DK" dirty="0"/>
              <a:t>Klik for at redigere i master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492250"/>
            <a:ext cx="3997325" cy="42418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a-DK" dirty="0"/>
              <a:t>Indsæt billede</a:t>
            </a:r>
          </a:p>
        </p:txBody>
      </p:sp>
    </p:spTree>
    <p:extLst>
      <p:ext uri="{BB962C8B-B14F-4D97-AF65-F5344CB8AC3E}">
        <p14:creationId xmlns:p14="http://schemas.microsoft.com/office/powerpoint/2010/main" val="3369020041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m. str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7443788" cy="940943"/>
          </a:xfrm>
        </p:spPr>
        <p:txBody>
          <a:bodyPr/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</p:spTree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1655932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" name="think-cell Slide" r:id="rId26" imgW="470" imgH="469" progId="TCLayout.ActiveDocument.1">
                  <p:embed/>
                </p:oleObj>
              </mc:Choice>
              <mc:Fallback>
                <p:oleObj name="think-cell Slide" r:id="rId2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8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2290" y="1376363"/>
            <a:ext cx="8047036" cy="436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9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Første niveau</a:t>
            </a:r>
          </a:p>
          <a:p>
            <a:pPr lvl="2"/>
            <a:r>
              <a:rPr lang="da-DK" dirty="0"/>
              <a:t>Andet niveau</a:t>
            </a:r>
          </a:p>
          <a:p>
            <a:pPr lvl="3"/>
            <a:r>
              <a:rPr lang="da-DK" dirty="0"/>
              <a:t>Tredje niveau</a:t>
            </a:r>
          </a:p>
          <a:p>
            <a:pPr lvl="4"/>
            <a:r>
              <a:rPr lang="da-DK" dirty="0"/>
              <a:t>Fjerde niveau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" y="1"/>
            <a:ext cx="7443787" cy="932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580891" y="6297613"/>
            <a:ext cx="3534619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8118476" y="6297613"/>
            <a:ext cx="439737" cy="2143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3C75061-B1B6-40EC-B9F9-7310D269E7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4" name="Rektangel 3"/>
          <p:cNvSpPr/>
          <p:nvPr userDrawn="1"/>
        </p:nvSpPr>
        <p:spPr>
          <a:xfrm>
            <a:off x="442279" y="6258233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chemeClr val="bg1">
                    <a:lumMod val="50000"/>
                  </a:schemeClr>
                </a:solidFill>
              </a:rPr>
              <a:t>©KMD</a:t>
            </a:r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806" y="373259"/>
            <a:ext cx="915519" cy="20478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724" r:id="rId3"/>
    <p:sldLayoutId id="2147483702" r:id="rId4"/>
    <p:sldLayoutId id="2147483653" r:id="rId5"/>
    <p:sldLayoutId id="2147483704" r:id="rId6"/>
    <p:sldLayoutId id="2147483721" r:id="rId7"/>
    <p:sldLayoutId id="2147483709" r:id="rId8"/>
    <p:sldLayoutId id="2147483655" r:id="rId9"/>
    <p:sldLayoutId id="2147483723" r:id="rId10"/>
    <p:sldLayoutId id="2147483744" r:id="rId11"/>
    <p:sldLayoutId id="2147483718" r:id="rId12"/>
    <p:sldLayoutId id="2147483701" r:id="rId13"/>
    <p:sldLayoutId id="2147483809" r:id="rId14"/>
    <p:sldLayoutId id="2147483706" r:id="rId15"/>
    <p:sldLayoutId id="2147483811" r:id="rId16"/>
    <p:sldLayoutId id="2147483807" r:id="rId17"/>
    <p:sldLayoutId id="2147483800" r:id="rId18"/>
    <p:sldLayoutId id="2147483720" r:id="rId19"/>
    <p:sldLayoutId id="2147483703" r:id="rId20"/>
    <p:sldLayoutId id="2147483707" r:id="rId21"/>
    <p:sldLayoutId id="2147483815" r:id="rId22"/>
  </p:sldLayoutIdLst>
  <p:transition>
    <p:fade thruBlk="1"/>
  </p:transition>
  <p:hf hdr="0" ft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35000"/>
        <a:defRPr sz="20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SzPct val="35000"/>
        <a:defRPr sz="2000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6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20000"/>
        <a:buFont typeface="Wingdings" panose="05000000000000000000" pitchFamily="2" charset="2"/>
        <a:buChar char="§"/>
        <a:defRPr sz="1800">
          <a:solidFill>
            <a:schemeClr val="tx1"/>
          </a:solidFill>
          <a:latin typeface="+mn-lt"/>
        </a:defRPr>
      </a:lvl2pPr>
      <a:lvl3pPr marL="357188" indent="-192088" algn="l" rtl="0" eaLnBrk="1" fontAlgn="base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tx2"/>
        </a:buClr>
        <a:buSzPct val="120000"/>
        <a:buFont typeface="Verdana" panose="020B0604030504040204" pitchFamily="34" charset="0"/>
        <a:buChar char="_"/>
        <a:defRPr sz="1400">
          <a:solidFill>
            <a:schemeClr val="tx1"/>
          </a:solidFill>
          <a:latin typeface="+mn-lt"/>
        </a:defRPr>
      </a:lvl3pPr>
      <a:lvl4pPr marL="539750" indent="-182563" algn="l" rtl="0" eaLnBrk="1" fontAlgn="base" hangingPunct="1">
        <a:lnSpc>
          <a:spcPct val="100000"/>
        </a:lnSpc>
        <a:spcBef>
          <a:spcPts val="1200"/>
        </a:spcBef>
        <a:spcAft>
          <a:spcPct val="10000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200">
          <a:solidFill>
            <a:schemeClr val="tx1"/>
          </a:solidFill>
          <a:latin typeface="+mn-lt"/>
        </a:defRPr>
      </a:lvl4pPr>
      <a:lvl5pPr marL="673100" indent="-171450" algn="l" rtl="0" eaLnBrk="1" fontAlgn="base" hangingPunct="1">
        <a:lnSpc>
          <a:spcPct val="100000"/>
        </a:lnSpc>
        <a:spcBef>
          <a:spcPts val="1200"/>
        </a:spcBef>
        <a:spcAft>
          <a:spcPts val="216"/>
        </a:spcAft>
        <a:buClr>
          <a:schemeClr val="tx2"/>
        </a:buClr>
        <a:buSzPct val="100000"/>
        <a:buFont typeface="Verdana" panose="020B0604030504040204" pitchFamily="34" charset="0"/>
        <a:buChar char="_"/>
        <a:defRPr sz="1200" baseline="0">
          <a:solidFill>
            <a:schemeClr val="tx1"/>
          </a:solidFill>
          <a:latin typeface="+mn-lt"/>
        </a:defRPr>
      </a:lvl5pPr>
      <a:lvl6pPr marL="2843213" indent="0" algn="l" rtl="0" eaLnBrk="1" fontAlgn="base" hangingPunct="1">
        <a:spcBef>
          <a:spcPct val="0"/>
        </a:spcBef>
        <a:spcAft>
          <a:spcPct val="0"/>
        </a:spcAft>
        <a:buSzPct val="70000"/>
        <a:buNone/>
        <a:defRPr sz="1500">
          <a:solidFill>
            <a:srgbClr val="40668C"/>
          </a:solidFill>
          <a:latin typeface="TrueFrutiger" pitchFamily="2" charset="0"/>
        </a:defRPr>
      </a:lvl6pPr>
      <a:lvl7pPr marL="35861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7pPr>
      <a:lvl8pPr marL="40433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8pPr>
      <a:lvl9pPr marL="4500563" indent="-285750" algn="l" rtl="0" eaLnBrk="1" fontAlgn="base" hangingPunct="1">
        <a:spcBef>
          <a:spcPct val="0"/>
        </a:spcBef>
        <a:spcAft>
          <a:spcPct val="0"/>
        </a:spcAft>
        <a:buSzPct val="70000"/>
        <a:buChar char="•"/>
        <a:defRPr sz="1500">
          <a:solidFill>
            <a:srgbClr val="40668C"/>
          </a:solidFill>
          <a:latin typeface="TrueFrutiger" pitchFamily="2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microsoft.com/office/2007/relationships/hdphoto" Target="../media/hdphoto2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5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>
            <a:extLst>
              <a:ext uri="{FF2B5EF4-FFF2-40B4-BE49-F238E27FC236}">
                <a16:creationId xmlns:a16="http://schemas.microsoft.com/office/drawing/2014/main" id="{3291BC1D-0C38-4717-9328-734FC68111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31" y="1989951"/>
            <a:ext cx="8749363" cy="467126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17500" y="2"/>
            <a:ext cx="2608580" cy="4726002"/>
          </a:xfrm>
        </p:spPr>
        <p:txBody>
          <a:bodyPr>
            <a:normAutofit/>
          </a:bodyPr>
          <a:lstStyle/>
          <a:p>
            <a:pPr algn="ctr"/>
            <a:br>
              <a:rPr lang="pl-PL" dirty="0"/>
            </a:br>
            <a:br>
              <a:rPr lang="pl-PL" dirty="0"/>
            </a:br>
            <a:r>
              <a:rPr lang="pl-PL" dirty="0"/>
              <a:t>EF </a:t>
            </a:r>
            <a:r>
              <a:rPr lang="pl-PL" dirty="0" err="1"/>
              <a:t>core</a:t>
            </a:r>
            <a:endParaRPr lang="da-DK" sz="2400" dirty="0">
              <a:solidFill>
                <a:srgbClr val="43B02A"/>
              </a:solidFill>
            </a:endParaRPr>
          </a:p>
        </p:txBody>
      </p:sp>
      <p:sp>
        <p:nvSpPr>
          <p:cNvPr id="10" name="Symbol zastępczy tekstu 9">
            <a:extLst>
              <a:ext uri="{FF2B5EF4-FFF2-40B4-BE49-F238E27FC236}">
                <a16:creationId xmlns:a16="http://schemas.microsoft.com/office/drawing/2014/main" id="{5AE1DF67-890E-49BF-9503-F10ACD4366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9420" y="3103562"/>
            <a:ext cx="2364740" cy="650875"/>
          </a:xfrm>
        </p:spPr>
        <p:txBody>
          <a:bodyPr>
            <a:normAutofit/>
          </a:bodyPr>
          <a:lstStyle/>
          <a:p>
            <a:pPr algn="ctr"/>
            <a:r>
              <a:rPr lang="pl-PL" sz="1800" dirty="0"/>
              <a:t>New </a:t>
            </a:r>
            <a:r>
              <a:rPr lang="pl-PL" sz="1800" dirty="0" err="1"/>
              <a:t>orm</a:t>
            </a:r>
            <a:r>
              <a:rPr lang="pl-PL" sz="1800" dirty="0"/>
              <a:t> on the </a:t>
            </a:r>
            <a:r>
              <a:rPr lang="pl-PL" sz="1800" dirty="0" err="1"/>
              <a:t>block</a:t>
            </a: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2936858342"/>
      </p:ext>
    </p:extLst>
  </p:cSld>
  <p:clrMapOvr>
    <a:masterClrMapping/>
  </p:clrMapOvr>
  <p:transition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FF45187-CE2B-448E-A6A3-28ADEDE26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types</a:t>
            </a:r>
            <a:r>
              <a:rPr lang="pl-PL" dirty="0"/>
              <a:t> – NO </a:t>
            </a:r>
            <a:r>
              <a:rPr lang="pl-PL" dirty="0" err="1"/>
              <a:t>primary</a:t>
            </a:r>
            <a:r>
              <a:rPr lang="pl-PL" dirty="0"/>
              <a:t> </a:t>
            </a:r>
            <a:r>
              <a:rPr lang="pl-PL" dirty="0" err="1"/>
              <a:t>key</a:t>
            </a:r>
            <a:r>
              <a:rPr lang="pl-PL" dirty="0"/>
              <a:t> </a:t>
            </a:r>
            <a:r>
              <a:rPr lang="pl-PL" dirty="0" err="1"/>
              <a:t>required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3C394114-1468-41BD-B27F-AAD14EAF2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14" name="Symbol zastępczy zawartości 13">
            <a:extLst>
              <a:ext uri="{FF2B5EF4-FFF2-40B4-BE49-F238E27FC236}">
                <a16:creationId xmlns:a16="http://schemas.microsoft.com/office/drawing/2014/main" id="{9FAA844E-45FB-46AC-9A02-B34E069456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4673" y="1185125"/>
            <a:ext cx="8047037" cy="5023170"/>
          </a:xfrm>
        </p:spPr>
        <p:txBody>
          <a:bodyPr/>
          <a:lstStyle/>
          <a:p>
            <a:r>
              <a:rPr lang="pl-PL" dirty="0"/>
              <a:t>Raw SQL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View</a:t>
            </a:r>
            <a:endParaRPr lang="pl-PL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27B6564A-660B-487C-9357-AD1A262832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2" y="1636529"/>
            <a:ext cx="8164580" cy="344482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D96237BF-AED2-4154-9C9D-BE82CC423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1" y="5785710"/>
            <a:ext cx="7994655" cy="42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41512"/>
      </p:ext>
    </p:extLst>
  </p:cSld>
  <p:clrMapOvr>
    <a:masterClrMapping/>
  </p:clrMapOvr>
  <p:transition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64EE556-5D99-45EF-B1C3-190E13AC3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B </a:t>
            </a:r>
            <a:r>
              <a:rPr lang="pl-PL" dirty="0" err="1"/>
              <a:t>Functions</a:t>
            </a:r>
            <a:r>
              <a:rPr lang="pl-PL" dirty="0"/>
              <a:t> (</a:t>
            </a:r>
            <a:r>
              <a:rPr lang="pl-PL" dirty="0" err="1"/>
              <a:t>Scalar</a:t>
            </a:r>
            <a:r>
              <a:rPr lang="pl-PL" dirty="0"/>
              <a:t>)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F6930BB7-F407-4233-B0E9-1EECD09F3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7E304EB-95CD-4742-86D1-B2BC5C749EA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6" y="1162050"/>
            <a:ext cx="8047037" cy="5135563"/>
          </a:xfrm>
        </p:spPr>
        <p:txBody>
          <a:bodyPr/>
          <a:lstStyle/>
          <a:p>
            <a:r>
              <a:rPr lang="pl-PL" dirty="0"/>
              <a:t>Step 1</a:t>
            </a:r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Step 2</a:t>
            </a:r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Step 3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8FEB8557-E201-44B1-B93B-B197A5CC3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176" y="1556115"/>
            <a:ext cx="7903238" cy="1292963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553950AC-C213-4326-9BFD-BFC79EED6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176" y="4812517"/>
            <a:ext cx="6941169" cy="1115391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7FC2B7EB-113C-4842-805E-0010425B84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76" y="3524366"/>
            <a:ext cx="7306864" cy="59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32212"/>
      </p:ext>
    </p:extLst>
  </p:cSld>
  <p:clrMapOvr>
    <a:masterClrMapping/>
  </p:clrMapOvr>
  <p:transition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7AC6313-789C-43B7-8A2E-415B265AE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– </a:t>
            </a:r>
            <a:r>
              <a:rPr lang="pl-PL" dirty="0" err="1"/>
              <a:t>tph</a:t>
            </a:r>
            <a:r>
              <a:rPr lang="pl-PL" dirty="0"/>
              <a:t> </a:t>
            </a:r>
            <a:r>
              <a:rPr lang="pl-PL" dirty="0" err="1"/>
              <a:t>only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45559BB-821F-4AEA-B79A-CE7C31AA8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214E11F-7F62-47A5-8D63-77076D0597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discriminato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base</a:t>
            </a:r>
            <a:r>
              <a:rPr lang="pl-PL" dirty="0"/>
              <a:t> </a:t>
            </a:r>
            <a:r>
              <a:rPr lang="pl-PL" dirty="0" err="1"/>
              <a:t>class</a:t>
            </a:r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0321DAD5-A42F-48D1-8150-0354AC45D6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3" y="1919448"/>
            <a:ext cx="7412227" cy="1401268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5E910BE1-95E5-48C3-AB6A-BCD58431D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4327347"/>
            <a:ext cx="7460595" cy="61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74301"/>
      </p:ext>
    </p:extLst>
  </p:cSld>
  <p:clrMapOvr>
    <a:masterClrMapping/>
  </p:clrMapOvr>
  <p:transition>
    <p:fade thruBlk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132D19-BE9F-4339-8078-DB2E30520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filter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2DAC99BD-E6E1-4CDF-8427-A8CC0F128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4DD7A0B8-2F70-435E-B378-7E8C6EBE746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/>
              <a:t>Map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Ignore</a:t>
            </a:r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74FA0BB4-ACA3-462C-8368-42D5F17DF6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1854305"/>
            <a:ext cx="7660986" cy="1103349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9EB9261E-71A6-446F-9EE7-9D7879099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3744536"/>
            <a:ext cx="6775093" cy="701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681513"/>
      </p:ext>
    </p:extLst>
  </p:cSld>
  <p:clrMapOvr>
    <a:masterClrMapping/>
  </p:clrMapOvr>
  <p:transition>
    <p:fade thruBlk="1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BB3C2FE-E754-47C6-A1FA-EF671E725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B </a:t>
            </a:r>
            <a:r>
              <a:rPr lang="pl-PL" dirty="0" err="1"/>
              <a:t>Generated</a:t>
            </a:r>
            <a:r>
              <a:rPr lang="pl-PL" dirty="0"/>
              <a:t> </a:t>
            </a:r>
            <a:r>
              <a:rPr lang="pl-PL" dirty="0" err="1"/>
              <a:t>valu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03E12A6-52B9-49BC-98BB-C0C9383F0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3418A236-6232-4069-9965-3E0B10D6A3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Computed</a:t>
            </a:r>
            <a:r>
              <a:rPr lang="pl-PL" dirty="0"/>
              <a:t> </a:t>
            </a:r>
            <a:r>
              <a:rPr lang="pl-PL" dirty="0" err="1"/>
              <a:t>column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Default</a:t>
            </a:r>
            <a:r>
              <a:rPr lang="pl-PL" dirty="0"/>
              <a:t> </a:t>
            </a:r>
            <a:r>
              <a:rPr lang="pl-PL" dirty="0" err="1"/>
              <a:t>value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CDFA0143-26B5-4D42-9257-2C68D2609F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1893319"/>
            <a:ext cx="7542668" cy="878757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393F761F-9CDD-47ED-8312-A107BDD02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3" y="3881621"/>
            <a:ext cx="7632005" cy="185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20430"/>
      </p:ext>
    </p:extLst>
  </p:cSld>
  <p:clrMapOvr>
    <a:masterClrMapping/>
  </p:clrMapOvr>
  <p:transition>
    <p:fade thruBlk="1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B0790FE-2CFC-474A-8C15-0D0ABAF8B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convers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5751F7C4-250B-4C83-8CD8-2BB0C6C92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F5F1B3A-39AC-4D91-B0BC-50B0A726B2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141763"/>
            <a:ext cx="8047037" cy="5037656"/>
          </a:xfrm>
        </p:spPr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converte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Built</a:t>
            </a:r>
            <a:r>
              <a:rPr lang="pl-PL" dirty="0"/>
              <a:t>-in </a:t>
            </a:r>
            <a:r>
              <a:rPr lang="pl-PL" dirty="0" err="1"/>
              <a:t>converter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Pre-defined</a:t>
            </a:r>
            <a:r>
              <a:rPr lang="pl-PL" dirty="0"/>
              <a:t> </a:t>
            </a:r>
            <a:r>
              <a:rPr lang="pl-PL" dirty="0" err="1"/>
              <a:t>convertio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9D6074FD-3909-47F0-9169-2F24C38EB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3973312"/>
            <a:ext cx="6260410" cy="68795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99AAF48-92C7-4EFE-B69E-96F70C68F9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5398059"/>
            <a:ext cx="6176895" cy="636356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AE47776B-FD1A-4CA6-90C6-08BFA79FB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289" y="1757375"/>
            <a:ext cx="5777090" cy="126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230668"/>
      </p:ext>
    </p:extLst>
  </p:cSld>
  <p:clrMapOvr>
    <a:masterClrMapping/>
  </p:clrMapOvr>
  <p:transition>
    <p:fade thruBlk="1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355CF9-13D4-477C-A124-6C170EEB2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Value </a:t>
            </a:r>
            <a:r>
              <a:rPr lang="pl-PL" dirty="0" err="1"/>
              <a:t>gener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EFCC451A-0FB8-469B-BE32-CF9D8647E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209DE33-A03F-458C-80A3-0105E670E48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value</a:t>
            </a:r>
            <a:r>
              <a:rPr lang="pl-PL" dirty="0"/>
              <a:t> generator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apping</a:t>
            </a:r>
            <a:endParaRPr lang="pl-PL" dirty="0"/>
          </a:p>
          <a:p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AC08601-DC76-4FE0-A6AB-950A40779C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387" y="1875411"/>
            <a:ext cx="8308278" cy="2128698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0395FBB5-6DFB-4A65-91CB-F5D0AF5B6E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4629302"/>
            <a:ext cx="7007192" cy="131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73115"/>
      </p:ext>
    </p:extLst>
  </p:cSld>
  <p:clrMapOvr>
    <a:masterClrMapping/>
  </p:clrMapOvr>
  <p:transition>
    <p:fade thruBlk="1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7EBCE70-6C02-4258-AA23-059D1F251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hadow</a:t>
            </a:r>
            <a:r>
              <a:rPr lang="pl-PL" dirty="0"/>
              <a:t> </a:t>
            </a:r>
            <a:r>
              <a:rPr lang="pl-PL" dirty="0" err="1"/>
              <a:t>propertie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CC7FED74-7D65-483F-A66C-5ECCFCB6C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7</a:t>
            </a:fld>
            <a:endParaRPr lang="da-DK" dirty="0"/>
          </a:p>
        </p:txBody>
      </p:sp>
      <p:pic>
        <p:nvPicPr>
          <p:cNvPr id="6" name="Symbol zastępczy zawartości 5">
            <a:extLst>
              <a:ext uri="{FF2B5EF4-FFF2-40B4-BE49-F238E27FC236}">
                <a16:creationId xmlns:a16="http://schemas.microsoft.com/office/drawing/2014/main" id="{EBF627ED-5F24-4552-83AC-4976598488D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747441" y="1454011"/>
            <a:ext cx="6981645" cy="4381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542268"/>
      </p:ext>
    </p:extLst>
  </p:cSld>
  <p:clrMapOvr>
    <a:masterClrMapping/>
  </p:clrMapOvr>
  <p:transition>
    <p:fade thruBlk="1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781312-C0C5-44D4-9832-F03B50B3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Field </a:t>
            </a:r>
            <a:r>
              <a:rPr lang="pl-PL" dirty="0" err="1"/>
              <a:t>Mapping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A676D26-2029-404F-B8D4-E1B2E598F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E8920A3E-B09A-4D0D-ACCF-FD1D84D6A71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155032"/>
            <a:ext cx="8047037" cy="5053263"/>
          </a:xfrm>
        </p:spPr>
        <p:txBody>
          <a:bodyPr/>
          <a:lstStyle/>
          <a:p>
            <a:r>
              <a:rPr lang="pl-PL" dirty="0"/>
              <a:t>Field in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las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Field </a:t>
            </a:r>
            <a:r>
              <a:rPr lang="pl-PL" dirty="0" err="1"/>
              <a:t>mapping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9BAD2247-9E90-4365-BAB6-D83EEE5E0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9" y="4926550"/>
            <a:ext cx="6519146" cy="117586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EDFE2DB7-DC7F-482C-BB7C-C5C1E13089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1646254"/>
            <a:ext cx="6596147" cy="254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971672"/>
      </p:ext>
    </p:extLst>
  </p:cSld>
  <p:clrMapOvr>
    <a:masterClrMapping/>
  </p:clrMapOvr>
  <p:transition>
    <p:fade thruBlk="1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ata SEE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Defined</a:t>
            </a:r>
            <a:r>
              <a:rPr lang="pl-PL" sz="2000" dirty="0"/>
              <a:t> as a part of </a:t>
            </a:r>
            <a:r>
              <a:rPr lang="pl-PL" sz="2000" dirty="0" err="1"/>
              <a:t>entity</a:t>
            </a:r>
            <a:r>
              <a:rPr lang="pl-PL" sz="2000" dirty="0"/>
              <a:t> </a:t>
            </a:r>
            <a:r>
              <a:rPr lang="pl-PL" sz="2000" dirty="0" err="1"/>
              <a:t>mapping</a:t>
            </a:r>
            <a:endParaRPr lang="pl-PL" sz="2000" dirty="0"/>
          </a:p>
          <a:p>
            <a:r>
              <a:rPr lang="pl-PL" sz="2000" dirty="0" err="1"/>
              <a:t>Anonymous</a:t>
            </a:r>
            <a:r>
              <a:rPr lang="pl-PL" sz="2000" dirty="0"/>
              <a:t> </a:t>
            </a:r>
            <a:r>
              <a:rPr lang="pl-PL" sz="2000" dirty="0" err="1"/>
              <a:t>objects</a:t>
            </a:r>
            <a:r>
              <a:rPr lang="pl-PL" sz="2000" dirty="0"/>
              <a:t> </a:t>
            </a:r>
            <a:r>
              <a:rPr lang="pl-PL" sz="2000" dirty="0" err="1"/>
              <a:t>can</a:t>
            </a:r>
            <a:r>
              <a:rPr lang="pl-PL" sz="2000" dirty="0"/>
              <a:t> be </a:t>
            </a:r>
            <a:r>
              <a:rPr lang="pl-PL" sz="2000" dirty="0" err="1"/>
              <a:t>used</a:t>
            </a:r>
            <a:endParaRPr lang="pl-PL" sz="2000" dirty="0"/>
          </a:p>
          <a:p>
            <a:r>
              <a:rPr lang="pl-PL" sz="2000" dirty="0" err="1"/>
              <a:t>Generated</a:t>
            </a:r>
            <a:r>
              <a:rPr lang="pl-PL" sz="2000" dirty="0"/>
              <a:t> as part of </a:t>
            </a:r>
            <a:r>
              <a:rPr lang="pl-PL" sz="2000" dirty="0" err="1"/>
              <a:t>migrations</a:t>
            </a:r>
            <a:endParaRPr lang="pl-PL" sz="2000" dirty="0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0D1355E8-0850-43D6-B992-91B4B5E33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89" y="3210144"/>
            <a:ext cx="5377997" cy="2446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76218"/>
      </p:ext>
    </p:extLst>
  </p:cSld>
  <p:clrMapOvr>
    <a:masterClrMapping/>
  </p:clrMapOvr>
  <p:transition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How </a:t>
            </a:r>
            <a:r>
              <a:rPr lang="pl-PL" dirty="0" err="1"/>
              <a:t>cool</a:t>
            </a:r>
            <a:r>
              <a:rPr lang="pl-PL" dirty="0"/>
              <a:t> EF </a:t>
            </a:r>
            <a:r>
              <a:rPr lang="pl-PL" dirty="0" err="1"/>
              <a:t>Core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What</a:t>
            </a:r>
            <a:r>
              <a:rPr lang="pl-PL" sz="2000" dirty="0"/>
              <a:t> </a:t>
            </a:r>
            <a:r>
              <a:rPr lang="pl-PL" sz="2000" dirty="0" err="1"/>
              <a:t>is</a:t>
            </a:r>
            <a:r>
              <a:rPr lang="pl-PL" sz="2000" dirty="0"/>
              <a:t> EF </a:t>
            </a:r>
            <a:r>
              <a:rPr lang="pl-PL" sz="2000" dirty="0" err="1"/>
              <a:t>Core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What’s</a:t>
            </a:r>
            <a:r>
              <a:rPr lang="pl-PL" sz="2000" dirty="0"/>
              <a:t> </a:t>
            </a:r>
            <a:r>
              <a:rPr lang="pl-PL" sz="2000" dirty="0" err="1"/>
              <a:t>new</a:t>
            </a:r>
            <a:r>
              <a:rPr lang="pl-PL" sz="2000" dirty="0"/>
              <a:t> in model </a:t>
            </a:r>
            <a:r>
              <a:rPr lang="pl-PL" sz="2000" dirty="0" err="1"/>
              <a:t>mapping</a:t>
            </a:r>
            <a:r>
              <a:rPr lang="pl-PL" sz="2000" dirty="0"/>
              <a:t>?</a:t>
            </a:r>
          </a:p>
          <a:p>
            <a:r>
              <a:rPr lang="pl-PL" sz="2000" dirty="0"/>
              <a:t>How </a:t>
            </a:r>
            <a:r>
              <a:rPr lang="pl-PL" sz="2000" dirty="0" err="1"/>
              <a:t>code</a:t>
            </a:r>
            <a:r>
              <a:rPr lang="pl-PL" sz="2000" dirty="0"/>
              <a:t> </a:t>
            </a:r>
            <a:r>
              <a:rPr lang="pl-PL" sz="2000" dirty="0" err="1"/>
              <a:t>first</a:t>
            </a:r>
            <a:r>
              <a:rPr lang="pl-PL" sz="2000" dirty="0"/>
              <a:t> </a:t>
            </a:r>
            <a:r>
              <a:rPr lang="pl-PL" sz="2000" dirty="0" err="1"/>
              <a:t>migrations</a:t>
            </a:r>
            <a:r>
              <a:rPr lang="pl-PL" sz="2000" dirty="0"/>
              <a:t> </a:t>
            </a:r>
            <a:r>
              <a:rPr lang="pl-PL" sz="2000" dirty="0" err="1"/>
              <a:t>works</a:t>
            </a:r>
            <a:r>
              <a:rPr lang="pl-PL" sz="2000" dirty="0"/>
              <a:t> </a:t>
            </a:r>
            <a:r>
              <a:rPr lang="pl-PL" sz="2000" dirty="0" err="1"/>
              <a:t>now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Are</a:t>
            </a:r>
            <a:r>
              <a:rPr lang="pl-PL" sz="2000" dirty="0"/>
              <a:t> </a:t>
            </a:r>
            <a:r>
              <a:rPr lang="pl-PL" sz="2000" dirty="0" err="1"/>
              <a:t>queries</a:t>
            </a:r>
            <a:r>
              <a:rPr lang="pl-PL" sz="2000" dirty="0"/>
              <a:t> </a:t>
            </a:r>
            <a:r>
              <a:rPr lang="pl-PL" sz="2000" dirty="0" err="1"/>
              <a:t>any</a:t>
            </a:r>
            <a:r>
              <a:rPr lang="pl-PL" sz="2000" dirty="0"/>
              <a:t> </a:t>
            </a:r>
            <a:r>
              <a:rPr lang="pl-PL" sz="2000" dirty="0" err="1"/>
              <a:t>better</a:t>
            </a:r>
            <a:r>
              <a:rPr lang="pl-PL" sz="2000" dirty="0"/>
              <a:t>?</a:t>
            </a:r>
          </a:p>
          <a:p>
            <a:r>
              <a:rPr lang="pl-PL" sz="2000" dirty="0" err="1"/>
              <a:t>Should</a:t>
            </a:r>
            <a:r>
              <a:rPr lang="pl-PL" sz="2000" dirty="0"/>
              <a:t> I </a:t>
            </a:r>
            <a:r>
              <a:rPr lang="pl-PL" sz="2000" dirty="0" err="1"/>
              <a:t>move</a:t>
            </a:r>
            <a:r>
              <a:rPr lang="pl-PL" sz="2000" dirty="0"/>
              <a:t> from EF6 to EF </a:t>
            </a:r>
            <a:r>
              <a:rPr lang="pl-PL" sz="2000" dirty="0" err="1"/>
              <a:t>Core</a:t>
            </a:r>
            <a:r>
              <a:rPr lang="pl-PL" sz="2000" dirty="0"/>
              <a:t>?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355791336"/>
      </p:ext>
    </p:extLst>
  </p:cSld>
  <p:clrMapOvr>
    <a:masterClrMapping/>
  </p:clrMapOvr>
  <p:transition>
    <p:fade thruBlk="1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ytuł 10">
            <a:extLst>
              <a:ext uri="{FF2B5EF4-FFF2-40B4-BE49-F238E27FC236}">
                <a16:creationId xmlns:a16="http://schemas.microsoft.com/office/drawing/2014/main" id="{0291F169-4F1C-421D-9A40-EB3768957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769" b="8769"/>
          <a:stretch>
            <a:fillRect/>
          </a:stretch>
        </p:blipFill>
        <p:spPr>
          <a:xfrm>
            <a:off x="0" y="1203325"/>
            <a:ext cx="9144000" cy="5654675"/>
          </a:xfrm>
        </p:spPr>
      </p:pic>
    </p:spTree>
    <p:extLst>
      <p:ext uri="{BB962C8B-B14F-4D97-AF65-F5344CB8AC3E}">
        <p14:creationId xmlns:p14="http://schemas.microsoft.com/office/powerpoint/2010/main" val="3267325168"/>
      </p:ext>
    </p:extLst>
  </p:cSld>
  <p:clrMapOvr>
    <a:masterClrMapping/>
  </p:clrMapOvr>
  <p:transition>
    <p:fade thruBlk="1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ODE FIRST </a:t>
            </a:r>
            <a:r>
              <a:rPr lang="pl-PL" dirty="0" err="1"/>
              <a:t>migrations</a:t>
            </a:r>
            <a:r>
              <a:rPr lang="pl-PL" dirty="0"/>
              <a:t> – NEW STUFF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Support</a:t>
            </a:r>
            <a:r>
              <a:rPr lang="pl-PL" sz="2000" dirty="0"/>
              <a:t> for </a:t>
            </a:r>
            <a:r>
              <a:rPr lang="pl-PL" sz="2000" dirty="0" err="1"/>
              <a:t>both</a:t>
            </a:r>
            <a:r>
              <a:rPr lang="pl-PL" sz="2000" dirty="0"/>
              <a:t> PS </a:t>
            </a:r>
            <a:r>
              <a:rPr lang="pl-PL" sz="2000" dirty="0" err="1"/>
              <a:t>functions</a:t>
            </a:r>
            <a:r>
              <a:rPr lang="pl-PL" sz="2000" dirty="0"/>
              <a:t> and </a:t>
            </a:r>
            <a:r>
              <a:rPr lang="pl-PL" sz="2000" dirty="0" err="1"/>
              <a:t>dotnet</a:t>
            </a:r>
            <a:r>
              <a:rPr lang="pl-PL" sz="2000" dirty="0"/>
              <a:t> CLI </a:t>
            </a:r>
            <a:r>
              <a:rPr lang="pl-PL" sz="2000" dirty="0" err="1"/>
              <a:t>commands</a:t>
            </a:r>
            <a:r>
              <a:rPr lang="pl-PL" sz="2000" dirty="0"/>
              <a:t> </a:t>
            </a:r>
          </a:p>
          <a:p>
            <a:r>
              <a:rPr lang="pl-PL" sz="2000" dirty="0" err="1"/>
              <a:t>Possibility</a:t>
            </a:r>
            <a:r>
              <a:rPr lang="pl-PL" sz="2000" dirty="0"/>
              <a:t> of </a:t>
            </a:r>
            <a:r>
              <a:rPr lang="pl-PL" sz="2000" dirty="0" err="1"/>
              <a:t>creating</a:t>
            </a:r>
            <a:r>
              <a:rPr lang="pl-PL" sz="2000" dirty="0"/>
              <a:t> a </a:t>
            </a:r>
            <a:r>
              <a:rPr lang="pl-PL" sz="2000" dirty="0" err="1"/>
              <a:t>separate</a:t>
            </a:r>
            <a:r>
              <a:rPr lang="pl-PL" sz="2000" dirty="0"/>
              <a:t> </a:t>
            </a:r>
            <a:r>
              <a:rPr lang="pl-PL" sz="2000" dirty="0" err="1"/>
              <a:t>project</a:t>
            </a:r>
            <a:r>
              <a:rPr lang="pl-PL" sz="2000" dirty="0"/>
              <a:t> for </a:t>
            </a:r>
            <a:r>
              <a:rPr lang="pl-PL" sz="2000" dirty="0" err="1"/>
              <a:t>migrations</a:t>
            </a:r>
            <a:endParaRPr lang="pl-PL" sz="2000" dirty="0"/>
          </a:p>
          <a:p>
            <a:r>
              <a:rPr lang="pl-PL" sz="2000" dirty="0" err="1"/>
              <a:t>Possibility</a:t>
            </a:r>
            <a:r>
              <a:rPr lang="pl-PL" sz="2000" dirty="0"/>
              <a:t> of </a:t>
            </a:r>
            <a:r>
              <a:rPr lang="pl-PL" sz="2000" dirty="0" err="1"/>
              <a:t>changing</a:t>
            </a:r>
            <a:r>
              <a:rPr lang="pl-PL" sz="2000" dirty="0"/>
              <a:t> </a:t>
            </a:r>
            <a:r>
              <a:rPr lang="pl-PL" sz="2000" dirty="0" err="1"/>
              <a:t>migrations</a:t>
            </a:r>
            <a:r>
              <a:rPr lang="pl-PL" sz="2000" dirty="0"/>
              <a:t> </a:t>
            </a:r>
            <a:r>
              <a:rPr lang="pl-PL" sz="2000" dirty="0" err="1"/>
              <a:t>history</a:t>
            </a:r>
            <a:r>
              <a:rPr lang="pl-PL" sz="2000" dirty="0"/>
              <a:t> </a:t>
            </a:r>
            <a:r>
              <a:rPr lang="pl-PL" sz="2000" dirty="0" err="1"/>
              <a:t>table</a:t>
            </a:r>
            <a:r>
              <a:rPr lang="pl-PL" sz="2000" dirty="0"/>
              <a:t> </a:t>
            </a:r>
            <a:r>
              <a:rPr lang="pl-PL" sz="2000" dirty="0" err="1"/>
              <a:t>structure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908916602"/>
      </p:ext>
    </p:extLst>
  </p:cSld>
  <p:clrMapOvr>
    <a:masterClrMapping/>
  </p:clrMapOvr>
  <p:transition>
    <p:fade thruBlk="1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B3580B4-6ECC-4A48-B5A5-E740384ED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9D986F8-A2D2-4B2F-BEF5-22D4E8383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496242B-FD22-46C8-89DF-C6E2F6713A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6" y="1058779"/>
            <a:ext cx="8047037" cy="5238834"/>
          </a:xfrm>
        </p:spPr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snapshot</a:t>
            </a:r>
            <a:endParaRPr lang="pl-PL" dirty="0"/>
          </a:p>
          <a:p>
            <a:endParaRPr lang="pl-PL" sz="1200" dirty="0"/>
          </a:p>
          <a:p>
            <a:endParaRPr lang="pl-PL" sz="1200" dirty="0"/>
          </a:p>
          <a:p>
            <a:pPr marL="0" indent="0">
              <a:buNone/>
            </a:pPr>
            <a:endParaRPr lang="pl-PL" sz="1200" dirty="0"/>
          </a:p>
          <a:p>
            <a:r>
              <a:rPr lang="pl-PL" dirty="0"/>
              <a:t>Migration file</a:t>
            </a:r>
          </a:p>
          <a:p>
            <a:endParaRPr lang="pl-PL" sz="1200" dirty="0"/>
          </a:p>
          <a:p>
            <a:endParaRPr lang="pl-PL" sz="1200" dirty="0"/>
          </a:p>
          <a:p>
            <a:pPr marL="0" indent="0">
              <a:buNone/>
            </a:pPr>
            <a:endParaRPr lang="pl-PL" sz="800" dirty="0"/>
          </a:p>
          <a:p>
            <a:r>
              <a:rPr lang="pl-PL" dirty="0"/>
              <a:t>Designer</a:t>
            </a:r>
          </a:p>
          <a:p>
            <a:endParaRPr lang="pl-PL" dirty="0"/>
          </a:p>
          <a:p>
            <a:endParaRPr lang="pl-PL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04271973-8729-4170-B8BA-8BDE01B42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737" y="1464901"/>
            <a:ext cx="6508694" cy="1166653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F6B201B5-154E-4238-B691-9477312E5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737" y="3127965"/>
            <a:ext cx="6951973" cy="1166653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BDFFB887-6399-4B57-B674-F8B7A72D46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37" y="4806392"/>
            <a:ext cx="6301889" cy="123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18553"/>
      </p:ext>
    </p:extLst>
  </p:cSld>
  <p:clrMapOvr>
    <a:masterClrMapping/>
  </p:clrMapOvr>
  <p:transition>
    <p:fade thruBlk="1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67F8D9A-5B21-4CA8-8370-419967B09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first</a:t>
            </a:r>
            <a:r>
              <a:rPr lang="pl-PL" dirty="0"/>
              <a:t> </a:t>
            </a:r>
            <a:r>
              <a:rPr lang="pl-PL" dirty="0" err="1"/>
              <a:t>migration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F6303630-0CC0-4EF2-B855-41D0DFD9F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2E1BB12E-711D-4719-AD49-52C139734DA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Migrations</a:t>
            </a:r>
            <a:r>
              <a:rPr lang="pl-PL" dirty="0"/>
              <a:t> </a:t>
            </a:r>
            <a:r>
              <a:rPr lang="pl-PL" dirty="0" err="1"/>
              <a:t>history</a:t>
            </a:r>
            <a:r>
              <a:rPr lang="pl-PL" dirty="0"/>
              <a:t> - </a:t>
            </a:r>
            <a:r>
              <a:rPr lang="pl-PL" dirty="0" err="1"/>
              <a:t>stored</a:t>
            </a:r>
            <a:r>
              <a:rPr lang="pl-PL" dirty="0"/>
              <a:t> in __</a:t>
            </a:r>
            <a:r>
              <a:rPr lang="pl-PL" dirty="0" err="1"/>
              <a:t>EFMigrationsHistory</a:t>
            </a:r>
            <a:r>
              <a:rPr lang="pl-PL" dirty="0"/>
              <a:t> </a:t>
            </a:r>
            <a:r>
              <a:rPr lang="pl-PL" dirty="0" err="1"/>
              <a:t>tabl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 err="1"/>
              <a:t>Migrations</a:t>
            </a:r>
            <a:r>
              <a:rPr lang="pl-PL" dirty="0"/>
              <a:t> </a:t>
            </a:r>
            <a:r>
              <a:rPr lang="pl-PL" b="1" dirty="0" err="1"/>
              <a:t>should</a:t>
            </a:r>
            <a:r>
              <a:rPr lang="pl-PL" dirty="0"/>
              <a:t> be </a:t>
            </a:r>
            <a:r>
              <a:rPr lang="pl-PL" dirty="0" err="1"/>
              <a:t>removed</a:t>
            </a:r>
            <a:r>
              <a:rPr lang="pl-PL" dirty="0"/>
              <a:t> </a:t>
            </a:r>
            <a:r>
              <a:rPr lang="pl-PL" dirty="0" err="1"/>
              <a:t>explicitly</a:t>
            </a:r>
            <a:r>
              <a:rPr lang="pl-PL" dirty="0"/>
              <a:t> with </a:t>
            </a:r>
            <a:r>
              <a:rPr lang="pl-PL" i="1" dirty="0" err="1"/>
              <a:t>Remove</a:t>
            </a:r>
            <a:r>
              <a:rPr lang="pl-PL" i="1" dirty="0"/>
              <a:t>-Migration</a:t>
            </a:r>
            <a:r>
              <a:rPr lang="pl-PL" dirty="0"/>
              <a:t> </a:t>
            </a:r>
            <a:r>
              <a:rPr lang="pl-PL" dirty="0" err="1"/>
              <a:t>command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D057BC9-5F38-4EB7-878E-42624723B1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2005176"/>
            <a:ext cx="6264787" cy="119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856774"/>
      </p:ext>
    </p:extLst>
  </p:cSld>
  <p:clrMapOvr>
    <a:masterClrMapping/>
  </p:clrMapOvr>
  <p:transition>
    <p:fade thruBlk="1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ROBLEM: </a:t>
            </a:r>
            <a:br>
              <a:rPr lang="pl-PL" dirty="0"/>
            </a:br>
            <a:r>
              <a:rPr lang="pl-PL" dirty="0" err="1"/>
              <a:t>migrations</a:t>
            </a:r>
            <a:r>
              <a:rPr lang="pl-PL" dirty="0"/>
              <a:t> in team </a:t>
            </a:r>
            <a:r>
              <a:rPr lang="pl-PL" dirty="0" err="1"/>
              <a:t>environments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4</a:t>
            </a:fld>
            <a:endParaRPr lang="da-DK" dirty="0"/>
          </a:p>
        </p:txBody>
      </p:sp>
      <p:pic>
        <p:nvPicPr>
          <p:cNvPr id="4" name="Symbol zastępczy obrazu 3">
            <a:extLst>
              <a:ext uri="{FF2B5EF4-FFF2-40B4-BE49-F238E27FC236}">
                <a16:creationId xmlns:a16="http://schemas.microsoft.com/office/drawing/2014/main" id="{F0BDA40D-51B5-4AB2-8F12-22194D429B0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" r="2036"/>
          <a:stretch>
            <a:fillRect/>
          </a:stretch>
        </p:blipFill>
        <p:spPr>
          <a:xfrm>
            <a:off x="0" y="1260909"/>
            <a:ext cx="9144000" cy="5597089"/>
          </a:xfr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B679E105-F484-4BE5-AC2B-3736C12D54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254" y="2127183"/>
            <a:ext cx="8633862" cy="287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48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9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8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dsholder til billede 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298" b="16298"/>
          <a:stretch>
            <a:fillRect/>
          </a:stretch>
        </p:blipFill>
        <p:spPr bwMode="auto">
          <a:xfrm>
            <a:off x="0" y="1203327"/>
            <a:ext cx="9144000" cy="565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Pladsholder til slidenummer 4"/>
          <p:cNvSpPr>
            <a:spLocks noGrp="1"/>
          </p:cNvSpPr>
          <p:nvPr>
            <p:ph type="sldNum" sz="quarter" idx="4294967295"/>
          </p:nvPr>
        </p:nvSpPr>
        <p:spPr>
          <a:xfrm>
            <a:off x="8704265" y="6297613"/>
            <a:ext cx="439737" cy="214312"/>
          </a:xfrm>
        </p:spPr>
        <p:txBody>
          <a:bodyPr/>
          <a:lstStyle/>
          <a:p>
            <a:fld id="{F3C75061-B1B6-40EC-B9F9-7310D269E7AB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9" name="Titel 8"/>
          <p:cNvSpPr>
            <a:spLocks noGrp="1"/>
          </p:cNvSpPr>
          <p:nvPr>
            <p:ph type="title" idx="4294967295"/>
          </p:nvPr>
        </p:nvSpPr>
        <p:spPr>
          <a:xfrm>
            <a:off x="0" y="2"/>
            <a:ext cx="7443788" cy="931863"/>
          </a:xfrm>
        </p:spPr>
        <p:txBody>
          <a:bodyPr/>
          <a:lstStyle/>
          <a:p>
            <a:r>
              <a:rPr lang="pl-PL" dirty="0" err="1"/>
              <a:t>Queri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163632"/>
      </p:ext>
    </p:extLst>
  </p:cSld>
  <p:clrMapOvr>
    <a:masterClrMapping/>
  </p:clrMapOvr>
  <p:transition>
    <p:fade thruBlk="1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</a:t>
            </a:r>
            <a:r>
              <a:rPr lang="pl-PL" dirty="0" err="1"/>
              <a:t>lazy</a:t>
            </a:r>
            <a:r>
              <a:rPr lang="pl-PL" dirty="0"/>
              <a:t>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6</a:t>
            </a:fld>
            <a:endParaRPr lang="da-DK" dirty="0"/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E2D19E99-D816-4AC2-B136-1827C5252B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85" y="1311134"/>
            <a:ext cx="7559291" cy="4986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31104"/>
      </p:ext>
    </p:extLst>
  </p:cSld>
  <p:clrMapOvr>
    <a:masterClrMapping/>
  </p:clrMapOvr>
  <p:transition>
    <p:fade thruBlk="1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</a:t>
            </a:r>
            <a:r>
              <a:rPr lang="pl-PL" dirty="0" err="1"/>
              <a:t>Explicit</a:t>
            </a:r>
            <a:r>
              <a:rPr lang="pl-PL" dirty="0"/>
              <a:t>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280CEA7-0B19-4398-97B8-3202CAE5B9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Load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endParaRPr lang="pl-PL" dirty="0"/>
          </a:p>
          <a:p>
            <a:r>
              <a:rPr lang="pl-PL" dirty="0"/>
              <a:t>Query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8E757B31-48DC-48F1-A96F-732D3CA569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4" y="1887834"/>
            <a:ext cx="5119050" cy="1231286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D3A0661D-0348-41B9-A099-29417C9541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674" y="4212422"/>
            <a:ext cx="5287646" cy="1571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999677"/>
      </p:ext>
    </p:extLst>
  </p:cSld>
  <p:clrMapOvr>
    <a:masterClrMapping/>
  </p:clrMapOvr>
  <p:transition>
    <p:fade thruBlk="1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Loading</a:t>
            </a:r>
            <a:r>
              <a:rPr lang="pl-PL" dirty="0"/>
              <a:t> </a:t>
            </a:r>
            <a:r>
              <a:rPr lang="pl-PL" dirty="0" err="1"/>
              <a:t>Related</a:t>
            </a:r>
            <a:r>
              <a:rPr lang="pl-PL" dirty="0"/>
              <a:t> data – EAGER </a:t>
            </a:r>
            <a:r>
              <a:rPr lang="pl-PL" dirty="0" err="1"/>
              <a:t>loading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280CEA7-0B19-4398-97B8-3202CAE5B9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Multiple</a:t>
            </a:r>
            <a:r>
              <a:rPr lang="pl-PL" dirty="0"/>
              <a:t> </a:t>
            </a:r>
            <a:r>
              <a:rPr lang="pl-PL" dirty="0" err="1"/>
              <a:t>levels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pPr marL="0" indent="0">
              <a:buNone/>
            </a:pPr>
            <a:endParaRPr lang="pl-PL" dirty="0"/>
          </a:p>
          <a:p>
            <a:r>
              <a:rPr lang="pl-PL" dirty="0" err="1"/>
              <a:t>Derived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59A47EB5-FF14-4EEE-B000-9D7D33B8E3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537" y="4188153"/>
            <a:ext cx="7528939" cy="1218452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83348F8B-093F-4D55-B74A-3FA108067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289" y="1791306"/>
            <a:ext cx="6191242" cy="1566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19022"/>
      </p:ext>
    </p:extLst>
  </p:cSld>
  <p:clrMapOvr>
    <a:masterClrMapping/>
  </p:clrMapOvr>
  <p:transition>
    <p:fade thruBlk="1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0010D5-A5AD-4DD6-9C06-730C6F01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lient </a:t>
            </a:r>
            <a:r>
              <a:rPr lang="pl-PL" dirty="0" err="1"/>
              <a:t>query</a:t>
            </a:r>
            <a:r>
              <a:rPr lang="pl-PL" dirty="0"/>
              <a:t> </a:t>
            </a:r>
            <a:r>
              <a:rPr lang="pl-PL" dirty="0" err="1"/>
              <a:t>evalu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B8259357-F9BD-4294-9246-F43FC7506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29</a:t>
            </a:fld>
            <a:endParaRPr lang="da-DK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1EDB237-F716-4320-9399-058E334A72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712" y="1724501"/>
            <a:ext cx="8266576" cy="340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14559"/>
      </p:ext>
    </p:extLst>
  </p:cSld>
  <p:clrMapOvr>
    <a:masterClrMapping/>
  </p:clrMapOvr>
  <p:transition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816E4A8-EDA2-490F-A6AD-66834308A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What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 ef </a:t>
            </a:r>
            <a:r>
              <a:rPr lang="pl-PL" dirty="0" err="1"/>
              <a:t>core</a:t>
            </a:r>
            <a:r>
              <a:rPr lang="pl-PL" dirty="0"/>
              <a:t>?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071E690E-0680-4F9A-AA1C-D300C2AEA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EC46BB10-A847-4819-8FB2-84353AA2DF0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sz="2400" dirty="0"/>
              <a:t>„</a:t>
            </a:r>
            <a:r>
              <a:rPr lang="en-US" sz="2400" dirty="0"/>
              <a:t>Entity Framework (EF) Core is a lightweight, extensible, and cross-platform version of the popular Entity Framework data access technology.</a:t>
            </a:r>
            <a:r>
              <a:rPr lang="pl-PL" sz="2400" dirty="0"/>
              <a:t>”</a:t>
            </a:r>
          </a:p>
          <a:p>
            <a:pPr marL="0" indent="0" algn="r">
              <a:buNone/>
            </a:pPr>
            <a:r>
              <a:rPr lang="pl-PL" sz="2400" i="1" dirty="0"/>
              <a:t>Microsoft</a:t>
            </a:r>
            <a:r>
              <a:rPr lang="en-US" sz="2400" dirty="0"/>
              <a:t> </a:t>
            </a:r>
            <a:endParaRPr lang="pl-PL" sz="2400" dirty="0"/>
          </a:p>
        </p:txBody>
      </p:sp>
    </p:spTree>
    <p:extLst>
      <p:ext uri="{BB962C8B-B14F-4D97-AF65-F5344CB8AC3E}">
        <p14:creationId xmlns:p14="http://schemas.microsoft.com/office/powerpoint/2010/main" val="772604730"/>
      </p:ext>
    </p:extLst>
  </p:cSld>
  <p:clrMapOvr>
    <a:masterClrMapping/>
  </p:clrMapOvr>
  <p:transition>
    <p:fade thruBlk="1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B3D0F20-D71D-4AC5-B15C-FE3F213CF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ery </a:t>
            </a:r>
            <a:r>
              <a:rPr lang="pl-PL" dirty="0" err="1"/>
              <a:t>optimiz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8227F6DB-000E-456F-B101-C12BCA34E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7" name="Symbol zastępczy zawartości 6">
            <a:extLst>
              <a:ext uri="{FF2B5EF4-FFF2-40B4-BE49-F238E27FC236}">
                <a16:creationId xmlns:a16="http://schemas.microsoft.com/office/drawing/2014/main" id="{C1D1F834-E730-40F5-A4DE-9C21AA1772B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Projections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33FCEDF-7BE1-43D5-80D6-9F4F24CC1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74" y="1879890"/>
            <a:ext cx="7998968" cy="318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79446"/>
      </p:ext>
    </p:extLst>
  </p:cSld>
  <p:clrMapOvr>
    <a:masterClrMapping/>
  </p:clrMapOvr>
  <p:transition>
    <p:fade thruBlk="1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8D02571-CBC5-428F-B017-E4653E03D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Potential</a:t>
            </a:r>
            <a:r>
              <a:rPr lang="pl-PL" dirty="0"/>
              <a:t> </a:t>
            </a:r>
            <a:r>
              <a:rPr lang="pl-PL" dirty="0" err="1"/>
              <a:t>issue</a:t>
            </a:r>
            <a:r>
              <a:rPr lang="pl-PL" dirty="0"/>
              <a:t>: SELECT n+1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AD65841D-5987-4E61-8CA2-495892043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1</a:t>
            </a:fld>
            <a:endParaRPr lang="da-DK" dirty="0"/>
          </a:p>
        </p:txBody>
      </p:sp>
      <p:pic>
        <p:nvPicPr>
          <p:cNvPr id="5" name="Symbol zastępczy zawartości 4">
            <a:extLst>
              <a:ext uri="{FF2B5EF4-FFF2-40B4-BE49-F238E27FC236}">
                <a16:creationId xmlns:a16="http://schemas.microsoft.com/office/drawing/2014/main" id="{C8010561-CAD6-4E7B-B516-8331112E282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752099" y="1226012"/>
            <a:ext cx="4758087" cy="2289348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B8071085-9314-4850-9EF1-F67A1D13C5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100" y="3854856"/>
            <a:ext cx="5918106" cy="208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628447"/>
      </p:ext>
    </p:extLst>
  </p:cSld>
  <p:clrMapOvr>
    <a:masterClrMapping/>
  </p:clrMapOvr>
  <p:transition>
    <p:fade thruBlk="1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Pladsholder til billede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63" b="6263"/>
          <a:stretch>
            <a:fillRect/>
          </a:stretch>
        </p:blipFill>
        <p:spPr>
          <a:xfrm>
            <a:off x="-1" y="1236435"/>
            <a:ext cx="9144000" cy="56546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Ladder Infographics for PowerPoint</a:t>
            </a:r>
          </a:p>
        </p:txBody>
      </p:sp>
      <p:sp>
        <p:nvSpPr>
          <p:cNvPr id="50" name="Titel 1"/>
          <p:cNvSpPr txBox="1">
            <a:spLocks/>
          </p:cNvSpPr>
          <p:nvPr/>
        </p:nvSpPr>
        <p:spPr bwMode="auto">
          <a:xfrm>
            <a:off x="0" y="2"/>
            <a:ext cx="7443788" cy="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SzPct val="35000"/>
              <a:defRPr sz="2799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pl-PL" sz="2000" kern="0" dirty="0" err="1">
                <a:solidFill>
                  <a:schemeClr val="tx1"/>
                </a:solidFill>
              </a:rPr>
              <a:t>Should</a:t>
            </a:r>
            <a:r>
              <a:rPr lang="pl-PL" sz="2000" kern="0" dirty="0">
                <a:solidFill>
                  <a:schemeClr val="tx1"/>
                </a:solidFill>
              </a:rPr>
              <a:t> I PORT from EF 6 to ef </a:t>
            </a:r>
            <a:r>
              <a:rPr lang="pl-PL" sz="2000" kern="0" dirty="0" err="1">
                <a:solidFill>
                  <a:schemeClr val="tx1"/>
                </a:solidFill>
              </a:rPr>
              <a:t>core</a:t>
            </a:r>
            <a:r>
              <a:rPr lang="pl-PL" sz="2000" kern="0" dirty="0">
                <a:solidFill>
                  <a:schemeClr val="tx1"/>
                </a:solidFill>
              </a:rPr>
              <a:t>?</a:t>
            </a:r>
            <a:endParaRPr lang="da-DK" sz="20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3774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C83718E-8864-40AB-BCD0-B51B6929B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o </a:t>
            </a:r>
            <a:r>
              <a:rPr lang="pl-PL" dirty="0" err="1"/>
              <a:t>Migrate</a:t>
            </a:r>
            <a:r>
              <a:rPr lang="pl-PL" dirty="0"/>
              <a:t> </a:t>
            </a:r>
            <a:r>
              <a:rPr lang="pl-PL" dirty="0" err="1"/>
              <a:t>or</a:t>
            </a:r>
            <a:r>
              <a:rPr lang="pl-PL" dirty="0"/>
              <a:t> not to </a:t>
            </a:r>
            <a:r>
              <a:rPr lang="pl-PL" dirty="0" err="1"/>
              <a:t>migrate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77F84A3-14CC-4B82-825A-9F41B927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3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99A655D9-9D66-41D9-B7AA-FAAFE62FC6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sz="2000" dirty="0"/>
              <a:t>„</a:t>
            </a:r>
            <a:r>
              <a:rPr lang="en-US" sz="2000" dirty="0"/>
              <a:t>Because of the fundamental changes in EF Core we do not recommend attempting to move an EF6 application to EF Core unless you have a compelling reason to make the change.</a:t>
            </a:r>
            <a:r>
              <a:rPr lang="pl-PL" sz="2000" dirty="0"/>
              <a:t>”</a:t>
            </a:r>
          </a:p>
          <a:p>
            <a:pPr marL="0" indent="0" algn="r">
              <a:buNone/>
            </a:pPr>
            <a:r>
              <a:rPr lang="pl-PL" sz="2000" i="1" dirty="0"/>
              <a:t>Microsoft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49600488"/>
      </p:ext>
    </p:extLst>
  </p:cSld>
  <p:clrMapOvr>
    <a:masterClrMapping/>
  </p:clrMapOvr>
  <p:transition>
    <p:fade thruBlk="1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What’s</a:t>
            </a:r>
            <a:r>
              <a:rPr lang="pl-PL" dirty="0"/>
              <a:t> missing HERE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34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 err="1"/>
              <a:t>Many-to-many</a:t>
            </a:r>
            <a:r>
              <a:rPr lang="pl-PL" sz="2000" dirty="0"/>
              <a:t> </a:t>
            </a:r>
            <a:r>
              <a:rPr lang="pl-PL" sz="2000" dirty="0" err="1"/>
              <a:t>without</a:t>
            </a:r>
            <a:r>
              <a:rPr lang="pl-PL" sz="2000" dirty="0"/>
              <a:t> </a:t>
            </a:r>
            <a:r>
              <a:rPr lang="pl-PL" sz="2000" dirty="0" err="1"/>
              <a:t>join</a:t>
            </a:r>
            <a:r>
              <a:rPr lang="pl-PL" sz="2000" dirty="0"/>
              <a:t> </a:t>
            </a:r>
            <a:r>
              <a:rPr lang="pl-PL" sz="2000" dirty="0" err="1"/>
              <a:t>entity</a:t>
            </a:r>
            <a:endParaRPr lang="pl-PL" sz="2000" dirty="0"/>
          </a:p>
          <a:p>
            <a:r>
              <a:rPr lang="en-US" sz="2000" dirty="0"/>
              <a:t>Inheritance: Table per hierarchy (TPH)</a:t>
            </a:r>
            <a:r>
              <a:rPr lang="pl-PL" sz="2000" dirty="0"/>
              <a:t> </a:t>
            </a:r>
            <a:r>
              <a:rPr lang="pl-PL" sz="2000" dirty="0" err="1"/>
              <a:t>only</a:t>
            </a:r>
            <a:endParaRPr lang="pl-PL" sz="2000" dirty="0"/>
          </a:p>
          <a:p>
            <a:r>
              <a:rPr lang="pl-PL" sz="2000" dirty="0" err="1"/>
              <a:t>Mapping</a:t>
            </a:r>
            <a:r>
              <a:rPr lang="pl-PL" sz="2000" dirty="0"/>
              <a:t> to </a:t>
            </a:r>
            <a:r>
              <a:rPr lang="pl-PL" sz="2000" dirty="0" err="1"/>
              <a:t>stored</a:t>
            </a:r>
            <a:r>
              <a:rPr lang="pl-PL" sz="2000" dirty="0"/>
              <a:t> </a:t>
            </a:r>
            <a:r>
              <a:rPr lang="pl-PL" sz="2000" dirty="0" err="1"/>
              <a:t>procedures</a:t>
            </a:r>
            <a:endParaRPr lang="pl-PL" sz="2000" dirty="0"/>
          </a:p>
          <a:p>
            <a:r>
              <a:rPr lang="pl-PL" sz="2000" dirty="0" err="1"/>
              <a:t>Spatial</a:t>
            </a:r>
            <a:r>
              <a:rPr lang="pl-PL" sz="2000" dirty="0"/>
              <a:t> data</a:t>
            </a:r>
          </a:p>
          <a:p>
            <a:r>
              <a:rPr lang="pl-PL" sz="2000" dirty="0" err="1"/>
              <a:t>Entity</a:t>
            </a:r>
            <a:r>
              <a:rPr lang="pl-PL" sz="2000" dirty="0"/>
              <a:t> </a:t>
            </a:r>
            <a:r>
              <a:rPr lang="pl-PL" sz="2000" dirty="0" err="1"/>
              <a:t>splitting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3159110275"/>
      </p:ext>
    </p:extLst>
  </p:cSld>
  <p:clrMapOvr>
    <a:masterClrMapping/>
  </p:clrMapOvr>
  <p:transition>
    <p:fade thruBlk="1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Ladder Infographics for PowerPoint</a:t>
            </a:r>
          </a:p>
        </p:txBody>
      </p:sp>
      <p:sp>
        <p:nvSpPr>
          <p:cNvPr id="50" name="Titel 1"/>
          <p:cNvSpPr txBox="1">
            <a:spLocks/>
          </p:cNvSpPr>
          <p:nvPr/>
        </p:nvSpPr>
        <p:spPr bwMode="auto">
          <a:xfrm>
            <a:off x="0" y="2"/>
            <a:ext cx="7443788" cy="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04000" tIns="32400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SzPct val="35000"/>
              <a:defRPr sz="2799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SzPct val="35000"/>
              <a:defRPr sz="20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endParaRPr lang="da-DK" sz="2000" kern="0" dirty="0">
              <a:solidFill>
                <a:schemeClr val="tx1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EBB7A976-A00E-4535-BED5-ABFB318FF769}"/>
              </a:ext>
            </a:extLst>
          </p:cNvPr>
          <p:cNvSpPr/>
          <p:nvPr/>
        </p:nvSpPr>
        <p:spPr>
          <a:xfrm>
            <a:off x="457199" y="1597729"/>
            <a:ext cx="8229601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endParaRPr lang="pl-PL" sz="4400" dirty="0"/>
          </a:p>
          <a:p>
            <a:pPr algn="ctr"/>
            <a:r>
              <a:rPr lang="pl-PL" sz="4400" kern="0" dirty="0" err="1"/>
              <a:t>Thank</a:t>
            </a:r>
            <a:r>
              <a:rPr lang="pl-PL" sz="4400" kern="0" dirty="0"/>
              <a:t> </a:t>
            </a:r>
            <a:r>
              <a:rPr lang="pl-PL" sz="4400" kern="0" dirty="0" err="1"/>
              <a:t>you</a:t>
            </a:r>
            <a:r>
              <a:rPr lang="pl-PL" sz="4400" kern="0" dirty="0"/>
              <a:t>! </a:t>
            </a:r>
            <a:r>
              <a:rPr lang="pl-PL" sz="4400" kern="0" dirty="0">
                <a:sym typeface="Wingdings" panose="05000000000000000000" pitchFamily="2" charset="2"/>
              </a:rPr>
              <a:t></a:t>
            </a:r>
            <a:endParaRPr lang="da-DK" sz="4400" kern="0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 algn="ctr">
              <a:buNone/>
            </a:pPr>
            <a:r>
              <a:rPr lang="pl-PL" dirty="0"/>
              <a:t>e-mail: ags@kmd.dk</a:t>
            </a:r>
          </a:p>
        </p:txBody>
      </p:sp>
    </p:spTree>
    <p:extLst>
      <p:ext uri="{BB962C8B-B14F-4D97-AF65-F5344CB8AC3E}">
        <p14:creationId xmlns:p14="http://schemas.microsoft.com/office/powerpoint/2010/main" val="6738276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HY EF CORE AND NOT EF7?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D95454-662B-4398-BE1F-29D7B1D4D6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sz="2000" dirty="0"/>
              <a:t>Cross-platform</a:t>
            </a:r>
          </a:p>
          <a:p>
            <a:r>
              <a:rPr lang="pl-PL" sz="2000" dirty="0" err="1"/>
              <a:t>Written</a:t>
            </a:r>
            <a:r>
              <a:rPr lang="pl-PL" sz="2000" dirty="0"/>
              <a:t> from the </a:t>
            </a:r>
            <a:r>
              <a:rPr lang="pl-PL" sz="2000" dirty="0" err="1"/>
              <a:t>scratch</a:t>
            </a:r>
            <a:r>
              <a:rPr lang="pl-PL" sz="2000" dirty="0"/>
              <a:t> (</a:t>
            </a:r>
            <a:r>
              <a:rPr lang="pl-PL" sz="2000" dirty="0" err="1"/>
              <a:t>latest</a:t>
            </a:r>
            <a:r>
              <a:rPr lang="pl-PL" sz="2000" dirty="0"/>
              <a:t> version: </a:t>
            </a:r>
            <a:r>
              <a:rPr lang="pl-PL" sz="2000" dirty="0" err="1"/>
              <a:t>almost</a:t>
            </a:r>
            <a:r>
              <a:rPr lang="pl-PL" sz="2000" dirty="0"/>
              <a:t> 2.1)</a:t>
            </a:r>
          </a:p>
          <a:p>
            <a:r>
              <a:rPr lang="pl-PL" sz="2000" dirty="0" err="1"/>
              <a:t>Improved</a:t>
            </a:r>
            <a:r>
              <a:rPr lang="pl-PL" sz="2000" dirty="0"/>
              <a:t> </a:t>
            </a:r>
            <a:r>
              <a:rPr lang="pl-PL" sz="2000" dirty="0" err="1"/>
              <a:t>concepts</a:t>
            </a:r>
            <a:r>
              <a:rPr lang="pl-PL" sz="2000" dirty="0"/>
              <a:t> </a:t>
            </a:r>
            <a:r>
              <a:rPr lang="pl-PL" sz="2000" dirty="0" err="1"/>
              <a:t>known</a:t>
            </a:r>
            <a:r>
              <a:rPr lang="pl-PL" sz="2000" dirty="0"/>
              <a:t> from EF6</a:t>
            </a:r>
          </a:p>
          <a:p>
            <a:r>
              <a:rPr lang="pl-PL" sz="2000" dirty="0" err="1"/>
              <a:t>Implemented</a:t>
            </a:r>
            <a:r>
              <a:rPr lang="pl-PL" sz="2000" dirty="0"/>
              <a:t> </a:t>
            </a:r>
            <a:r>
              <a:rPr lang="pl-PL" sz="2000" dirty="0" err="1"/>
              <a:t>new</a:t>
            </a:r>
            <a:r>
              <a:rPr lang="pl-PL" sz="2000" dirty="0"/>
              <a:t> </a:t>
            </a:r>
            <a:r>
              <a:rPr lang="pl-PL" sz="2000" dirty="0" err="1"/>
              <a:t>features</a:t>
            </a:r>
            <a:endParaRPr lang="pl-PL" sz="2000" dirty="0"/>
          </a:p>
          <a:p>
            <a:r>
              <a:rPr lang="pl-PL" sz="2000" dirty="0" err="1"/>
              <a:t>Emphasis</a:t>
            </a:r>
            <a:r>
              <a:rPr lang="pl-PL" sz="2000" dirty="0"/>
              <a:t> on performance </a:t>
            </a:r>
            <a:r>
              <a:rPr lang="pl-PL" sz="2000" dirty="0" err="1"/>
              <a:t>optimization</a:t>
            </a:r>
            <a:endParaRPr lang="pl-PL" sz="2000" dirty="0"/>
          </a:p>
          <a:p>
            <a:r>
              <a:rPr lang="pl-PL" sz="2000" dirty="0"/>
              <a:t>[Not </a:t>
            </a:r>
            <a:r>
              <a:rPr lang="pl-PL" sz="2000" dirty="0" err="1"/>
              <a:t>yet</a:t>
            </a:r>
            <a:r>
              <a:rPr lang="pl-PL" sz="2000" dirty="0"/>
              <a:t>] </a:t>
            </a:r>
            <a:r>
              <a:rPr lang="pl-PL" sz="2000" dirty="0" err="1"/>
              <a:t>all</a:t>
            </a:r>
            <a:r>
              <a:rPr lang="pl-PL" sz="2000" dirty="0"/>
              <a:t> </a:t>
            </a:r>
            <a:r>
              <a:rPr lang="pl-PL" sz="2000" dirty="0" err="1"/>
              <a:t>features</a:t>
            </a:r>
            <a:r>
              <a:rPr lang="pl-PL" sz="2000" dirty="0"/>
              <a:t> </a:t>
            </a:r>
            <a:r>
              <a:rPr lang="pl-PL" sz="2000" dirty="0" err="1"/>
              <a:t>implemented</a:t>
            </a:r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3922988142"/>
      </p:ext>
    </p:extLst>
  </p:cSld>
  <p:clrMapOvr>
    <a:masterClrMapping/>
  </p:clrMapOvr>
  <p:transition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69" t="7935" b="21332"/>
          <a:stretch/>
        </p:blipFill>
        <p:spPr>
          <a:xfrm>
            <a:off x="0" y="1118808"/>
            <a:ext cx="9144000" cy="573919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 </a:t>
            </a:r>
            <a:r>
              <a:rPr lang="pl-PL" dirty="0" err="1"/>
              <a:t>mapp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92930108"/>
      </p:ext>
    </p:extLst>
  </p:cSld>
  <p:clrMapOvr>
    <a:masterClrMapping/>
  </p:clrMapOvr>
  <p:transition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6E59A44-A170-49A8-BA43-F127DE76F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odel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120E8162-B5BC-42CF-89F7-709B26C53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6</a:t>
            </a:fld>
            <a:endParaRPr lang="da-DK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10D2DF78-DC6A-48CB-B60C-727CF61054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295083"/>
            <a:ext cx="7809547" cy="454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768114"/>
      </p:ext>
    </p:extLst>
  </p:cSld>
  <p:clrMapOvr>
    <a:masterClrMapping/>
  </p:clrMapOvr>
  <p:transition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4A85AAB-5A54-46FA-9254-EC19FAD20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 err="1"/>
              <a:t>configuration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618867AC-7C35-4C15-AE39-2380EACFE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57E8C064-784C-4781-80E3-83700B6EDD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6719" y="1109882"/>
            <a:ext cx="8047037" cy="4955638"/>
          </a:xfrm>
        </p:spPr>
        <p:txBody>
          <a:bodyPr/>
          <a:lstStyle/>
          <a:p>
            <a:r>
              <a:rPr lang="pl-PL" dirty="0" err="1"/>
              <a:t>DBContext</a:t>
            </a:r>
            <a:r>
              <a:rPr lang="pl-PL" dirty="0"/>
              <a:t> </a:t>
            </a:r>
            <a:r>
              <a:rPr lang="pl-PL" dirty="0">
                <a:sym typeface="Wingdings" panose="05000000000000000000" pitchFamily="2" charset="2"/>
              </a:rPr>
              <a:t> </a:t>
            </a:r>
            <a:r>
              <a:rPr lang="pl-PL" dirty="0" err="1"/>
              <a:t>OnModelCreating</a:t>
            </a:r>
            <a:endParaRPr lang="pl-PL" dirty="0"/>
          </a:p>
          <a:p>
            <a:r>
              <a:rPr lang="pl-PL" dirty="0" err="1"/>
              <a:t>IEntityConfiguration</a:t>
            </a:r>
            <a:endParaRPr lang="pl-PL" dirty="0"/>
          </a:p>
          <a:p>
            <a:pPr lvl="1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1646898"/>
      </p:ext>
    </p:extLst>
  </p:cSld>
  <p:clrMapOvr>
    <a:masterClrMapping/>
  </p:clrMapOvr>
  <p:transition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5E7575E-DDD7-49D0-82A0-38B46BB04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DEXES &amp; IDENTITY</a:t>
            </a:r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29F0DF4D-C657-4A7C-AF4F-DC6ABC7B9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BF4CE37-B9C5-49B2-A180-B21543768B8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err="1"/>
              <a:t>Keys</a:t>
            </a:r>
            <a:r>
              <a:rPr lang="pl-PL" dirty="0"/>
              <a:t> &amp; </a:t>
            </a:r>
            <a:r>
              <a:rPr lang="pl-PL" dirty="0" err="1"/>
              <a:t>indexes</a:t>
            </a:r>
            <a:r>
              <a:rPr lang="pl-PL" dirty="0"/>
              <a:t>:</a:t>
            </a:r>
          </a:p>
          <a:p>
            <a:pPr lvl="1"/>
            <a:r>
              <a:rPr lang="pl-PL" dirty="0" err="1"/>
              <a:t>Primary</a:t>
            </a:r>
            <a:r>
              <a:rPr lang="pl-PL" dirty="0"/>
              <a:t> </a:t>
            </a:r>
            <a:r>
              <a:rPr lang="pl-PL" dirty="0" err="1"/>
              <a:t>key</a:t>
            </a:r>
            <a:r>
              <a:rPr lang="pl-PL" dirty="0"/>
              <a:t> 	[CONSTRAINT PRIMARY KEY]</a:t>
            </a:r>
          </a:p>
          <a:p>
            <a:pPr lvl="1"/>
            <a:r>
              <a:rPr lang="pl-PL" dirty="0" err="1"/>
              <a:t>Alternate</a:t>
            </a:r>
            <a:r>
              <a:rPr lang="pl-PL" dirty="0"/>
              <a:t> </a:t>
            </a:r>
            <a:r>
              <a:rPr lang="pl-PL" dirty="0" err="1"/>
              <a:t>key</a:t>
            </a:r>
            <a:r>
              <a:rPr lang="pl-PL" dirty="0"/>
              <a:t> 	[CONSTRAINT UNIQUE]</a:t>
            </a:r>
          </a:p>
          <a:p>
            <a:pPr lvl="1"/>
            <a:r>
              <a:rPr lang="pl-PL" dirty="0" err="1"/>
              <a:t>Unique</a:t>
            </a:r>
            <a:r>
              <a:rPr lang="pl-PL" dirty="0"/>
              <a:t> index 	[UNIQUE INDEX]</a:t>
            </a:r>
          </a:p>
          <a:p>
            <a:pPr lvl="1"/>
            <a:r>
              <a:rPr lang="pl-PL" dirty="0" err="1"/>
              <a:t>Clustered</a:t>
            </a:r>
            <a:r>
              <a:rPr lang="pl-PL" dirty="0"/>
              <a:t> 	[INDEX/CONSTRAINT]</a:t>
            </a:r>
          </a:p>
          <a:p>
            <a:endParaRPr lang="pl-PL" dirty="0"/>
          </a:p>
          <a:p>
            <a:r>
              <a:rPr lang="pl-PL" dirty="0" err="1"/>
              <a:t>Sequences</a:t>
            </a:r>
            <a:endParaRPr lang="pl-PL" dirty="0"/>
          </a:p>
          <a:p>
            <a:pPr lvl="1"/>
            <a:r>
              <a:rPr lang="pl-PL" dirty="0"/>
              <a:t>SQL Server </a:t>
            </a:r>
            <a:r>
              <a:rPr lang="pl-PL" dirty="0" err="1"/>
              <a:t>sequence</a:t>
            </a:r>
            <a:endParaRPr lang="pl-PL" dirty="0"/>
          </a:p>
          <a:p>
            <a:pPr lvl="1"/>
            <a:r>
              <a:rPr lang="pl-PL" dirty="0" err="1"/>
              <a:t>HiLo</a:t>
            </a:r>
            <a:r>
              <a:rPr lang="pl-PL" dirty="0"/>
              <a:t> </a:t>
            </a:r>
            <a:r>
              <a:rPr lang="pl-PL" dirty="0" err="1"/>
              <a:t>sequence</a:t>
            </a:r>
            <a:endParaRPr lang="pl-PL" dirty="0"/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20113027"/>
      </p:ext>
    </p:extLst>
  </p:cSld>
  <p:clrMapOvr>
    <a:masterClrMapping/>
  </p:clrMapOvr>
  <p:transition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8660268-02C3-4432-9AB6-4BF192B60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lationships</a:t>
            </a:r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id="{90F77EEC-79D3-492A-9DE4-293E63225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75061-B1B6-40EC-B9F9-7310D269E7AB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0D9644C7-B6E8-4F35-A395-2037A143164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2289" y="1376362"/>
            <a:ext cx="8047037" cy="4610551"/>
          </a:xfrm>
        </p:spPr>
        <p:txBody>
          <a:bodyPr/>
          <a:lstStyle/>
          <a:p>
            <a:r>
              <a:rPr lang="pl-PL" dirty="0"/>
              <a:t>One-to-</a:t>
            </a:r>
            <a:r>
              <a:rPr lang="pl-PL" dirty="0" err="1"/>
              <a:t>many</a:t>
            </a:r>
            <a:endParaRPr lang="pl-PL" dirty="0"/>
          </a:p>
          <a:p>
            <a:r>
              <a:rPr lang="pl-PL" dirty="0" err="1"/>
              <a:t>Many-to-one</a:t>
            </a:r>
            <a:endParaRPr lang="pl-PL" dirty="0"/>
          </a:p>
          <a:p>
            <a:r>
              <a:rPr lang="pl-PL" dirty="0" err="1"/>
              <a:t>Many-to-many</a:t>
            </a:r>
            <a:r>
              <a:rPr lang="pl-PL" dirty="0"/>
              <a:t> (with </a:t>
            </a:r>
            <a:r>
              <a:rPr lang="pl-PL" dirty="0" err="1"/>
              <a:t>join</a:t>
            </a:r>
            <a:r>
              <a:rPr lang="pl-PL" dirty="0"/>
              <a:t> </a:t>
            </a:r>
            <a:r>
              <a:rPr lang="pl-PL" dirty="0" err="1"/>
              <a:t>entity</a:t>
            </a:r>
            <a:r>
              <a:rPr lang="pl-PL" dirty="0"/>
              <a:t> </a:t>
            </a:r>
            <a:r>
              <a:rPr lang="pl-PL" dirty="0">
                <a:sym typeface="Wingdings" panose="05000000000000000000" pitchFamily="2" charset="2"/>
              </a:rPr>
              <a:t>)</a:t>
            </a:r>
          </a:p>
          <a:p>
            <a:r>
              <a:rPr lang="pl-PL" dirty="0" err="1">
                <a:sym typeface="Wingdings" panose="05000000000000000000" pitchFamily="2" charset="2"/>
              </a:rPr>
              <a:t>Owned</a:t>
            </a:r>
            <a:r>
              <a:rPr lang="pl-PL" dirty="0">
                <a:sym typeface="Wingdings" panose="05000000000000000000" pitchFamily="2" charset="2"/>
              </a:rPr>
              <a:t> </a:t>
            </a:r>
            <a:r>
              <a:rPr lang="pl-PL" dirty="0" err="1">
                <a:sym typeface="Wingdings" panose="05000000000000000000" pitchFamily="2" charset="2"/>
              </a:rPr>
              <a:t>types</a:t>
            </a:r>
            <a:endParaRPr lang="pl-PL" dirty="0">
              <a:sym typeface="Wingdings" panose="05000000000000000000" pitchFamily="2" charset="2"/>
            </a:endParaRPr>
          </a:p>
          <a:p>
            <a:r>
              <a:rPr lang="pl-PL" dirty="0" err="1">
                <a:sym typeface="Wingdings" panose="05000000000000000000" pitchFamily="2" charset="2"/>
              </a:rPr>
              <a:t>Table</a:t>
            </a:r>
            <a:r>
              <a:rPr lang="pl-PL" dirty="0">
                <a:sym typeface="Wingdings" panose="05000000000000000000" pitchFamily="2" charset="2"/>
              </a:rPr>
              <a:t> </a:t>
            </a:r>
            <a:r>
              <a:rPr lang="pl-PL" dirty="0" err="1">
                <a:sym typeface="Wingdings" panose="05000000000000000000" pitchFamily="2" charset="2"/>
              </a:rPr>
              <a:t>splitt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884341113"/>
      </p:ext>
    </p:extLst>
  </p:cSld>
  <p:clrMapOvr>
    <a:masterClrMapping/>
  </p:clrMapOvr>
  <p:transition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282&quot;&gt;&lt;property id=&quot;20148&quot; value=&quot;5&quot;/&gt;&lt;property id=&quot;20300&quot; value=&quot;Slide 1&quot;/&gt;&lt;property id=&quot;20307&quot; value=&quot;256&quot;/&gt;&lt;/object&gt;&lt;object type=&quot;3&quot; unique_id=&quot;10283&quot;&gt;&lt;property id=&quot;20148&quot; value=&quot;5&quot;/&gt;&lt;property id=&quot;20300&quot; value=&quot;Slide 2&quot;/&gt;&lt;property id=&quot;20307&quot; value=&quot;257&quot;/&gt;&lt;/object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MD skabelon 2015_dk">
  <a:themeElements>
    <a:clrScheme name="KMD Skabelon 2015">
      <a:dk1>
        <a:srgbClr val="101820"/>
      </a:dk1>
      <a:lt1>
        <a:sysClr val="window" lastClr="FFFFFF"/>
      </a:lt1>
      <a:dk2>
        <a:srgbClr val="43B02A"/>
      </a:dk2>
      <a:lt2>
        <a:srgbClr val="155758"/>
      </a:lt2>
      <a:accent1>
        <a:srgbClr val="43B02A"/>
      </a:accent1>
      <a:accent2>
        <a:srgbClr val="7BBAB1"/>
      </a:accent2>
      <a:accent3>
        <a:srgbClr val="9EC486"/>
      </a:accent3>
      <a:accent4>
        <a:srgbClr val="C4DBB6"/>
      </a:accent4>
      <a:accent5>
        <a:srgbClr val="26A3C5"/>
      </a:accent5>
      <a:accent6>
        <a:srgbClr val="235C8E"/>
      </a:accent6>
      <a:hlink>
        <a:srgbClr val="235C8E"/>
      </a:hlink>
      <a:folHlink>
        <a:srgbClr val="235C8E"/>
      </a:folHlink>
    </a:clrScheme>
    <a:fontScheme name="kmd_powerpoint_graphic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marL="195263" indent="-207963">
          <a:spcBef>
            <a:spcPts val="1200"/>
          </a:spcBef>
          <a:buClr>
            <a:schemeClr val="accent1"/>
          </a:buClr>
          <a:buSzPct val="100000"/>
          <a:buFont typeface="Verdana" panose="020B0604030504040204" pitchFamily="34" charset="0"/>
          <a:buChar char="_"/>
          <a:defRPr dirty="0" err="1" smtClean="0"/>
        </a:defPPr>
      </a:lstStyle>
    </a:txDef>
  </a:objectDefaults>
  <a:extraClrSchemeLst>
    <a:extraClrScheme>
      <a:clrScheme name="kmd_powerpoint_graphics 1">
        <a:dk1>
          <a:srgbClr val="000000"/>
        </a:dk1>
        <a:lt1>
          <a:srgbClr val="FFFFFF"/>
        </a:lt1>
        <a:dk2>
          <a:srgbClr val="FFFFFF"/>
        </a:dk2>
        <a:lt2>
          <a:srgbClr val="E5E5E5"/>
        </a:lt2>
        <a:accent1>
          <a:srgbClr val="A3A3A3"/>
        </a:accent1>
        <a:accent2>
          <a:srgbClr val="59B227"/>
        </a:accent2>
        <a:accent3>
          <a:srgbClr val="FFFFFF"/>
        </a:accent3>
        <a:accent4>
          <a:srgbClr val="000000"/>
        </a:accent4>
        <a:accent5>
          <a:srgbClr val="CECECE"/>
        </a:accent5>
        <a:accent6>
          <a:srgbClr val="50A122"/>
        </a:accent6>
        <a:hlink>
          <a:srgbClr val="4F4F4F"/>
        </a:hlink>
        <a:folHlink>
          <a:srgbClr val="E0E0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MD-Basis.potx" id="{F6B6206C-CFEA-48B9-BBEB-08CBD06061DF}" vid="{13FE604F-3C90-45EF-AD9F-4BD8EDD10CF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60606"/>
      </a:dk1>
      <a:lt1>
        <a:srgbClr val="FFFFFF"/>
      </a:lt1>
      <a:dk2>
        <a:srgbClr val="FFFFFF"/>
      </a:dk2>
      <a:lt2>
        <a:srgbClr val="E5E5E5"/>
      </a:lt2>
      <a:accent1>
        <a:srgbClr val="505050"/>
      </a:accent1>
      <a:accent2>
        <a:srgbClr val="7BB139"/>
      </a:accent2>
      <a:accent3>
        <a:srgbClr val="FFFFFF"/>
      </a:accent3>
      <a:accent4>
        <a:srgbClr val="040404"/>
      </a:accent4>
      <a:accent5>
        <a:srgbClr val="B3B3B3"/>
      </a:accent5>
      <a:accent6>
        <a:srgbClr val="6FA033"/>
      </a:accent6>
      <a:hlink>
        <a:srgbClr val="A1A1A1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60606"/>
      </a:dk1>
      <a:lt1>
        <a:srgbClr val="FFFFFF"/>
      </a:lt1>
      <a:dk2>
        <a:srgbClr val="FFFFFF"/>
      </a:dk2>
      <a:lt2>
        <a:srgbClr val="E5E5E5"/>
      </a:lt2>
      <a:accent1>
        <a:srgbClr val="505050"/>
      </a:accent1>
      <a:accent2>
        <a:srgbClr val="7BB139"/>
      </a:accent2>
      <a:accent3>
        <a:srgbClr val="FFFFFF"/>
      </a:accent3>
      <a:accent4>
        <a:srgbClr val="040404"/>
      </a:accent4>
      <a:accent5>
        <a:srgbClr val="B3B3B3"/>
      </a:accent5>
      <a:accent6>
        <a:srgbClr val="6FA033"/>
      </a:accent6>
      <a:hlink>
        <a:srgbClr val="A1A1A1"/>
      </a:hlink>
      <a:folHlink>
        <a:srgbClr val="E0E0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MGroupOfReceivers xmlns="3a7a2017-ebea-4596-9349-28282056c044" xsi:nil="true">
    </ECMGroupOfReceivers>
    <ECMDDMID xmlns="094e950e-7a28-4fa9-b065-026979e0524a" xsi:nil="true"/>
    <ECMCompany xmlns="3a7a2017-ebea-4596-9349-28282056c044">KMD A/S</ECMCompany>
    <ECMClassification xmlns="094e950e-7a28-4fa9-b065-026979e0524a">Internt</ECMClassification>
    <ECMLevelOfQA xmlns="3a7a2017-ebea-4596-9349-28282056c044">U. Uformel review</ECMLevelOfQA>
    <ECMLevelofcontrol xmlns="3a7a2017-ebea-4596-9349-28282056c044">1: Versionsstyret</ECMLevelofcontrol>
    <ECMApprover xmlns="094e950e-7a28-4fa9-b065-026979e0524a">
      <UserInfo>
      </UserInfo>
    </ECMApprover>
    <ECMDocStatus xmlns="3a7a2017-ebea-4596-9349-28282056c044">I gang</ECMDocStatus>
    <_dlc_DocId xmlns="88c1fead-b588-439d-b601-2721103fd615">Ej nummereret</_dlc_DocId>
    <_dlc_DocIdUrl xmlns="88c1fead-b588-439d-b601-2721103fd615">
      <Url>http://kmdintern/iit/_layouts/DocIdRedir.aspx?ID=AI020854</Url>
      <Description>AI020854</Description>
    </_dlc_DocIdUrl>
    <ECMECMApproverShortValue xmlns="807333d8-593e-4e51-89b6-fc29f39c9a65">NA</ECMECMApproverShortValue>
    <ECMBaseFilename xmlns="094e950e-7a28-4fa9-b065-026979e0524a">NA</ECMBaseFilename>
    <ECMDocVersion xmlns="094e950e-7a28-4fa9-b065-026979e0524a">0.0</ECMDocVersion>
    <ECMVersionDate xmlns="094e950e-7a28-4fa9-b065-026979e0524a">2014-01-01T00:00:00</ECMVersionDate>
    <ECMCreatebyShortValue xmlns="807333d8-593e-4e51-89b6-fc29f39c9a65">NA</ECMCreatebyShortValu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KMD Dokument" ma:contentTypeID="0x0101004B410EC7CDA44A08A30822317999192F000BF1919BE030E6439B2AFF3DC76E06B3" ma:contentTypeVersion="107" ma:contentTypeDescription="Grundlæggende indholdstype for KMD dokumenter" ma:contentTypeScope="" ma:versionID="c3c4811c89ea623ef91716eb6229e29d">
  <xsd:schema xmlns:xsd="http://www.w3.org/2001/XMLSchema" xmlns:xs="http://www.w3.org/2001/XMLSchema" xmlns:p="http://schemas.microsoft.com/office/2006/metadata/properties" xmlns:ns2="88c1fead-b588-439d-b601-2721103fd615" xmlns:ns3="094e950e-7a28-4fa9-b065-026979e0524a" xmlns:ns4="3a7a2017-ebea-4596-9349-28282056c044" xmlns:ns5="807333d8-593e-4e51-89b6-fc29f39c9a65" targetNamespace="http://schemas.microsoft.com/office/2006/metadata/properties" ma:root="true" ma:fieldsID="d7d4805a30ede0313b54ef1d676fd140" ns2:_="" ns3:_="" ns4:_="" ns5:_="">
    <xsd:import namespace="88c1fead-b588-439d-b601-2721103fd615"/>
    <xsd:import namespace="094e950e-7a28-4fa9-b065-026979e0524a"/>
    <xsd:import namespace="3a7a2017-ebea-4596-9349-28282056c044"/>
    <xsd:import namespace="807333d8-593e-4e51-89b6-fc29f39c9a6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ECMApprover"/>
                <xsd:element ref="ns4:ECMDocStatus"/>
                <xsd:element ref="ns3:ECMDocVersion" minOccurs="0"/>
                <xsd:element ref="ns3:ECMBaseFilename" minOccurs="0"/>
                <xsd:element ref="ns3:ECMVersionDate" minOccurs="0"/>
                <xsd:element ref="ns3:ECMDDMID" minOccurs="0"/>
                <xsd:element ref="ns4:ECMCompany" minOccurs="0"/>
                <xsd:element ref="ns4:ECMLevelofcontrol"/>
                <xsd:element ref="ns4:ECMLevelOfQA"/>
                <xsd:element ref="ns3:ECMClassification" minOccurs="0"/>
                <xsd:element ref="ns4:ECMGroupOfReceivers" minOccurs="0"/>
                <xsd:element ref="ns5:ECMCreatebyShortValue" minOccurs="0"/>
                <xsd:element ref="ns5:ECMECMApproverShortValu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1fead-b588-439d-b601-2721103fd61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ærdi for dokument-id" ma:description="Værdien af det dokument-id, der er tildelt dette element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 link til dette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e950e-7a28-4fa9-b065-026979e0524a" elementFormDefault="qualified">
    <xsd:import namespace="http://schemas.microsoft.com/office/2006/documentManagement/types"/>
    <xsd:import namespace="http://schemas.microsoft.com/office/infopath/2007/PartnerControls"/>
    <xsd:element name="ECMApprover" ma:index="11" ma:displayName="Godkender/ejer" ma:description="" ma:list="UserInfo" ma:SearchPeopleOnly="false" ma:SharePointGroup="0" ma:internalName="ECMApprov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CMDocVersion" ma:index="13" nillable="true" ma:displayName="Dokument version" ma:description="" ma:internalName="ECMDocVersion" ma:readOnly="true">
      <xsd:simpleType>
        <xsd:restriction base="dms:Text">
          <xsd:maxLength value="255"/>
        </xsd:restriction>
      </xsd:simpleType>
    </xsd:element>
    <xsd:element name="ECMBaseFilename" ma:index="14" nillable="true" ma:displayName="Grundlæggende filnavn" ma:description="" ma:internalName="ECMBaseFilename" ma:readOnly="true">
      <xsd:simpleType>
        <xsd:restriction base="dms:Text">
          <xsd:maxLength value="255"/>
        </xsd:restriction>
      </xsd:simpleType>
    </xsd:element>
    <xsd:element name="ECMVersionDate" ma:index="15" nillable="true" ma:displayName="Versionsdato" ma:description="" ma:format="DateOnly" ma:internalName="ECMVersionDate" ma:readOnly="true">
      <xsd:simpleType>
        <xsd:restriction base="dms:DateTime"/>
      </xsd:simpleType>
    </xsd:element>
    <xsd:element name="ECMDDMID" ma:index="16" nillable="true" ma:displayName="DM ID" ma:description="" ma:hidden="true" ma:internalName="ECMDDMID" ma:readOnly="false">
      <xsd:simpleType>
        <xsd:restriction base="dms:Text">
          <xsd:maxLength value="255"/>
        </xsd:restriction>
      </xsd:simpleType>
    </xsd:element>
    <xsd:element name="ECMClassification" ma:index="20" nillable="true" ma:displayName="Klassifikation" ma:default="Internt" ma:description="" ma:format="Dropdown" ma:internalName="ECMClassification" ma:readOnly="false">
      <xsd:simpleType>
        <xsd:restriction base="dms:Choice">
          <xsd:enumeration value="Offentligt"/>
          <xsd:enumeration value="Begrænset"/>
          <xsd:enumeration value="Internt"/>
          <xsd:enumeration value="Fortroligt"/>
          <xsd:enumeration value="Personlig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a2017-ebea-4596-9349-28282056c044" elementFormDefault="qualified">
    <xsd:import namespace="http://schemas.microsoft.com/office/2006/documentManagement/types"/>
    <xsd:import namespace="http://schemas.microsoft.com/office/infopath/2007/PartnerControls"/>
    <xsd:element name="ECMDocStatus" ma:index="12" ma:displayName="Status" ma:default="I gang" ma:description="Dokument status" ma:format="Dropdown" ma:internalName="ECMDocStatus">
      <xsd:simpleType>
        <xsd:restriction base="dms:Choice">
          <xsd:enumeration value="Annulleret"/>
          <xsd:enumeration value="I gang"/>
          <xsd:enumeration value="Reviewklar"/>
          <xsd:enumeration value="Reviewet"/>
          <xsd:enumeration value="Godkendt"/>
        </xsd:restriction>
      </xsd:simpleType>
    </xsd:element>
    <xsd:element name="ECMCompany" ma:index="17" nillable="true" ma:displayName="Selskab" ma:default="KMD A/S" ma:format="Dropdown" ma:internalName="ECMCompany">
      <xsd:simpleType>
        <xsd:restriction base="dms:Choice">
          <xsd:enumeration value="KMD A/S"/>
          <xsd:enumeration value="KMD BPO A/S"/>
          <xsd:enumeration value="KMD Equity Holding A/S"/>
          <xsd:enumeration value="KMD Holding A/S"/>
          <xsd:enumeration value="KMD Informatik AB"/>
          <xsd:enumeration value="KMD International A/S"/>
          <xsd:enumeration value="KMD Printcenter Hvidovre A/S"/>
          <xsd:enumeration value="KMD Sverige AB"/>
          <xsd:enumeration value="AI Keyemde ApS"/>
          <xsd:enumeration value="AI Keyemde 2 ApS"/>
          <xsd:enumeration value="AI Keyemde 3 ApS"/>
          <xsd:enumeration value="Medialogic A/S"/>
        </xsd:restriction>
      </xsd:simpleType>
    </xsd:element>
    <xsd:element name="ECMLevelofcontrol" ma:index="18" ma:displayName="Styringsbehov" ma:default="1: Versionsstyret" ma:format="Dropdown" ma:internalName="ECMLevelofcontrol">
      <xsd:simpleType>
        <xsd:restriction base="dms:Choice">
          <xsd:enumeration value="0: Ingen styring"/>
          <xsd:enumeration value="1: Versionsstyret"/>
          <xsd:enumeration value="2: Ændringsstyret"/>
        </xsd:restriction>
      </xsd:simpleType>
    </xsd:element>
    <xsd:element name="ECMLevelOfQA" ma:index="19" ma:displayName="Kvalitetssikring" ma:default="I. Ingen review" ma:format="Dropdown" ma:internalName="ECMLevelOfQA" ma:readOnly="false">
      <xsd:simpleType>
        <xsd:restriction base="dms:Choice">
          <xsd:enumeration value="I. Ingen review"/>
          <xsd:enumeration value="U. Uformel review"/>
          <xsd:enumeration value="S. Struktureret gennemgang"/>
          <xsd:enumeration value="F. Formel review (møde)"/>
          <xsd:enumeration value="L. Ledelses review"/>
        </xsd:restriction>
      </xsd:simpleType>
    </xsd:element>
    <xsd:element name="ECMGroupOfReceivers" ma:index="21" nillable="true" ma:displayName="Modtagergruppe" ma:internalName="ECMGroupOfReceiver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7333d8-593e-4e51-89b6-fc29f39c9a65" elementFormDefault="qualified">
    <xsd:import namespace="http://schemas.microsoft.com/office/2006/documentManagement/types"/>
    <xsd:import namespace="http://schemas.microsoft.com/office/infopath/2007/PartnerControls"/>
    <xsd:element name="ECMCreatebyShortValue" ma:index="22" nillable="true" ma:displayName="Oprettet af kort værdi" ma:description="" ma:internalName="ECMCreatebyShortValue" ma:readOnly="true">
      <xsd:simpleType>
        <xsd:restriction base="dms:Text">
          <xsd:maxLength value="255"/>
        </xsd:restriction>
      </xsd:simpleType>
    </xsd:element>
    <xsd:element name="ECMECMApproverShortValue" ma:index="23" nillable="true" ma:displayName="Godkender/ejer kort værdi" ma:description="" ma:internalName="ECMECMApproverShortValue" ma:readOnly="tru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>
          </xs:element>
          <xs:element ref="pc:AccountId" minOccurs="0">
          </xs:element>
          <xs:element ref="pc:AccountType" minOccurs="0">
          </xs:element>
        </xs:sequence>
      </xs:complexType>
    </xs:element>
    <xs:element name="DisplayName" type="xs:string">
    </xs:element>
    <xs:element name="AccountId" type="xs:string">
    </xs:element>
    <xs:element name="AccountType" type="xs:string">
    </xs:element>
    <xs:element name="BDCAssociatedEntity">
      <xs:complexType>
        <xs:sequence>
          <xs:element ref="pc:BDCEntity" minOccurs="0" maxOccurs="unbounded">
          </xs:element>
        </xs:sequence>
        <xs:attribute ref="pc:EntityNamespace">
        </xs:attribute>
        <xs:attribute ref="pc:EntityName">
        </xs:attribute>
        <xs:attribute ref="pc:SystemInstanceName">
        </xs:attribute>
        <xs:attribute ref="pc:AssociationName">
        </xs:attribute>
      </xs:complexType>
    </xs:element>
    <xs:attribute name="EntityNamespace" type="xs:string">
    </xs:attribute>
    <xs:attribute name="EntityName" type="xs:string">
    </xs:attribute>
    <xs:attribute name="SystemInstanceName" type="xs:string">
    </xs:attribute>
    <xs:attribute name="AssociationName" type="xs:string">
    </xs:attribute>
    <xs:element name="BDCEntity">
      <xs:complexType>
        <xs:sequence>
          <xs:element ref="pc:EntityDisplayName" minOccurs="0">
          </xs:element>
          <xs:element ref="pc:EntityInstanceReference" minOccurs="0">
          </xs:element>
          <xs:element ref="pc:EntityId1" minOccurs="0">
          </xs:element>
          <xs:element ref="pc:EntityId2" minOccurs="0">
          </xs:element>
          <xs:element ref="pc:EntityId3" minOccurs="0">
          </xs:element>
          <xs:element ref="pc:EntityId4" minOccurs="0">
          </xs:element>
          <xs:element ref="pc:EntityId5" minOccurs="0">
          </xs:element>
        </xs:sequence>
      </xs:complexType>
    </xs:element>
    <xs:element name="EntityDisplayName" type="xs:string">
    </xs:element>
    <xs:element name="EntityInstanceReference" type="xs:string">
    </xs:element>
    <xs:element name="EntityId1" type="xs:string">
    </xs:element>
    <xs:element name="EntityId2" type="xs:string">
    </xs:element>
    <xs:element name="EntityId3" type="xs:string">
    </xs:element>
    <xs:element name="EntityId4" type="xs:string">
    </xs:element>
    <xs:element name="EntityId5" type="xs:string">
    </xs:element>
    <xs:element name="Terms">
      <xs:complexType>
        <xs:sequence>
          <xs:element ref="pc:TermInfo" minOccurs="0" maxOccurs="unbounded">
          </xs:element>
        </xs:sequence>
      </xs:complexType>
    </xs:element>
    <xs:element name="TermInfo">
      <xs:complexType>
        <xs:sequence>
          <xs:element ref="pc:TermName" minOccurs="0">
          </xs:element>
          <xs:element ref="pc:TermId" minOccurs="0">
          </xs:element>
        </xs:sequence>
      </xs:complexType>
    </xs:element>
    <xs:element name="TermName" type="xs:string">
    </xs:element>
    <xs:element name="TermId" type="xs:string">
    </xs:element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haredContentType xmlns="Microsoft.SharePoint.Taxonomy.ContentTypeSync" SourceId="13f14e23-3eeb-4f29-ab8e-40e43071ba55" ContentTypeId="0x0101004B410EC7CDA44A08A30822317999192F" PreviousValue="true"/>
</file>

<file path=customXml/itemProps1.xml><?xml version="1.0" encoding="utf-8"?>
<ds:datastoreItem xmlns:ds="http://schemas.openxmlformats.org/officeDocument/2006/customXml" ds:itemID="{6C0DC779-C6C6-412E-8E51-C2F94412DCB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A7DF9140-CE4C-40AE-8650-4ED6BFFC37DE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807333d8-593e-4e51-89b6-fc29f39c9a65"/>
    <ds:schemaRef ds:uri="http://purl.org/dc/elements/1.1/"/>
    <ds:schemaRef ds:uri="http://schemas.microsoft.com/office/infopath/2007/PartnerControls"/>
    <ds:schemaRef ds:uri="094e950e-7a28-4fa9-b065-026979e0524a"/>
    <ds:schemaRef ds:uri="88c1fead-b588-439d-b601-2721103fd615"/>
    <ds:schemaRef ds:uri="http://www.w3.org/XML/1998/namespace"/>
    <ds:schemaRef ds:uri="http://schemas.openxmlformats.org/package/2006/metadata/core-properties"/>
    <ds:schemaRef ds:uri="3a7a2017-ebea-4596-9349-28282056c044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506580B-AFA4-4CFD-B732-8B84322280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c1fead-b588-439d-b601-2721103fd615"/>
    <ds:schemaRef ds:uri="094e950e-7a28-4fa9-b065-026979e0524a"/>
    <ds:schemaRef ds:uri="3a7a2017-ebea-4596-9349-28282056c044"/>
    <ds:schemaRef ds:uri="807333d8-593e-4e51-89b6-fc29f39c9a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447998A-7ED9-4F67-A965-7701B7CC997D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4BE97A3C-496E-4F41-B900-48A03470D41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845</TotalTime>
  <Words>469</Words>
  <Application>Microsoft Office PowerPoint</Application>
  <PresentationFormat>Pokaz na ekranie (4:3)</PresentationFormat>
  <Paragraphs>224</Paragraphs>
  <Slides>35</Slides>
  <Notes>15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5</vt:i4>
      </vt:variant>
    </vt:vector>
  </HeadingPairs>
  <TitlesOfParts>
    <vt:vector size="40" baseType="lpstr">
      <vt:lpstr>TrueFrutiger</vt:lpstr>
      <vt:lpstr>Verdana</vt:lpstr>
      <vt:lpstr>Wingdings</vt:lpstr>
      <vt:lpstr>KMD skabelon 2015_dk</vt:lpstr>
      <vt:lpstr>think-cell Slide</vt:lpstr>
      <vt:lpstr>  EF core</vt:lpstr>
      <vt:lpstr>How cool EF Core is?</vt:lpstr>
      <vt:lpstr>What is ef core?</vt:lpstr>
      <vt:lpstr>WHY EF CORE AND NOT EF7?</vt:lpstr>
      <vt:lpstr>Model mapping</vt:lpstr>
      <vt:lpstr>Model</vt:lpstr>
      <vt:lpstr>Entity configuration</vt:lpstr>
      <vt:lpstr>INDEXES &amp; IDENTITY</vt:lpstr>
      <vt:lpstr>relationships</vt:lpstr>
      <vt:lpstr>Query types – NO primary key required</vt:lpstr>
      <vt:lpstr>DB Functions (Scalar)</vt:lpstr>
      <vt:lpstr>Inheritance – tph only</vt:lpstr>
      <vt:lpstr>Query filtering</vt:lpstr>
      <vt:lpstr>DB Generated values</vt:lpstr>
      <vt:lpstr>Value conversion</vt:lpstr>
      <vt:lpstr>Value generation</vt:lpstr>
      <vt:lpstr>Shadow properties</vt:lpstr>
      <vt:lpstr>Field Mapping</vt:lpstr>
      <vt:lpstr>Data SEEDING</vt:lpstr>
      <vt:lpstr>Code first Migrations</vt:lpstr>
      <vt:lpstr>CODE FIRST migrations – NEW STUFF</vt:lpstr>
      <vt:lpstr>Code first migrations</vt:lpstr>
      <vt:lpstr>Code first migrations</vt:lpstr>
      <vt:lpstr>PROBLEM:  migrations in team environments</vt:lpstr>
      <vt:lpstr>Queries</vt:lpstr>
      <vt:lpstr>Loading Related data – lazy loading</vt:lpstr>
      <vt:lpstr>Loading Related data – Explicit loading</vt:lpstr>
      <vt:lpstr>Loading Related data – EAGER loading</vt:lpstr>
      <vt:lpstr>Client query evaluation</vt:lpstr>
      <vt:lpstr>Query optimization</vt:lpstr>
      <vt:lpstr>Potential issue: SELECT n+1</vt:lpstr>
      <vt:lpstr>Ladder Infographics for PowerPoint</vt:lpstr>
      <vt:lpstr>To Migrate or not to migrate</vt:lpstr>
      <vt:lpstr>What’s missing HERE?</vt:lpstr>
      <vt:lpstr>Ladder Infographics for PowerPoint</vt:lpstr>
    </vt:vector>
  </TitlesOfParts>
  <Company>KMD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nV audit</dc:title>
  <dc:creator>CTG</dc:creator>
  <cp:lastModifiedBy>tiggris</cp:lastModifiedBy>
  <cp:revision>911</cp:revision>
  <dcterms:created xsi:type="dcterms:W3CDTF">2014-11-18T10:48:02Z</dcterms:created>
  <dcterms:modified xsi:type="dcterms:W3CDTF">2018-05-09T18:5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410EC7CDA44A08A30822317999192F000BF1919BE030E6439B2AFF3DC76E06B3</vt:lpwstr>
  </property>
  <property fmtid="{D5CDD505-2E9C-101B-9397-08002B2CF9AE}" pid="3" name="_dlc_DocIdItemGuid">
    <vt:lpwstr>ddf576d3-3864-46b5-a1da-a554005ec5c2</vt:lpwstr>
  </property>
  <property fmtid="{D5CDD505-2E9C-101B-9397-08002B2CF9AE}" pid="4" name="Order">
    <vt:r8>2500</vt:r8>
  </property>
  <property fmtid="{D5CDD505-2E9C-101B-9397-08002B2CF9AE}" pid="5" name="SPP_Selskab">
    <vt:lpwstr>KMD A/S</vt:lpwstr>
  </property>
  <property fmtid="{D5CDD505-2E9C-101B-9397-08002B2CF9AE}" pid="6" name="SPP_Klassifikation">
    <vt:lpwstr>Internt</vt:lpwstr>
  </property>
  <property fmtid="{D5CDD505-2E9C-101B-9397-08002B2CF9AE}" pid="7" name="SPP_Kvalitetssikring">
    <vt:lpwstr>U. Uformel review</vt:lpwstr>
  </property>
  <property fmtid="{D5CDD505-2E9C-101B-9397-08002B2CF9AE}" pid="8" name="SPP_Styringsbehov">
    <vt:lpwstr>1: Versionsstyret</vt:lpwstr>
  </property>
  <property fmtid="{D5CDD505-2E9C-101B-9397-08002B2CF9AE}" pid="9" name="SPP_Status">
    <vt:lpwstr>I gang</vt:lpwstr>
  </property>
  <property fmtid="{D5CDD505-2E9C-101B-9397-08002B2CF9AE}" pid="10" name="SPP_Værdifordokumentid">
    <vt:lpwstr>Ej nummereret</vt:lpwstr>
  </property>
  <property fmtid="{D5CDD505-2E9C-101B-9397-08002B2CF9AE}" pid="11" name="SPP_Dokumentid">
    <vt:lpwstr>http://kmdintern/iit/_layouts/DocIdRedir.aspx?ID=AI020854
AI020854
</vt:lpwstr>
  </property>
  <property fmtid="{D5CDD505-2E9C-101B-9397-08002B2CF9AE}" pid="12" name="SPP_Godkenderejerkortværdi">
    <vt:lpwstr>NA</vt:lpwstr>
  </property>
  <property fmtid="{D5CDD505-2E9C-101B-9397-08002B2CF9AE}" pid="13" name="SPP_Grundlæggendefilnavn">
    <vt:lpwstr>NA</vt:lpwstr>
  </property>
  <property fmtid="{D5CDD505-2E9C-101B-9397-08002B2CF9AE}" pid="14" name="SPP_Dokumentversion">
    <vt:lpwstr>0.0</vt:lpwstr>
  </property>
  <property fmtid="{D5CDD505-2E9C-101B-9397-08002B2CF9AE}" pid="15" name="SPP_Versionsdato">
    <vt:lpwstr>01.01.2014</vt:lpwstr>
  </property>
  <property fmtid="{D5CDD505-2E9C-101B-9397-08002B2CF9AE}" pid="16" name="SPP_Oprettetafkortværdi">
    <vt:lpwstr>NA</vt:lpwstr>
  </property>
  <property fmtid="{D5CDD505-2E9C-101B-9397-08002B2CF9AE}" pid="17" name="SPP_Title">
    <vt:lpwstr>DnV audit</vt:lpwstr>
  </property>
  <property fmtid="{D5CDD505-2E9C-101B-9397-08002B2CF9AE}" pid="18" name="SPP_Author">
    <vt:lpwstr>CTG</vt:lpwstr>
  </property>
  <property fmtid="{D5CDD505-2E9C-101B-9397-08002B2CF9AE}" pid="19" name="SPP_Template">
    <vt:lpwstr>KMD skabelon 2014_dk</vt:lpwstr>
  </property>
  <property fmtid="{D5CDD505-2E9C-101B-9397-08002B2CF9AE}" pid="20" name="SPP_Lastauthor">
    <vt:lpwstr>Agnieszka Stojanik (AGS)</vt:lpwstr>
  </property>
  <property fmtid="{D5CDD505-2E9C-101B-9397-08002B2CF9AE}" pid="21" name="SPP_Revisionnumber">
    <vt:lpwstr>581</vt:lpwstr>
  </property>
  <property fmtid="{D5CDD505-2E9C-101B-9397-08002B2CF9AE}" pid="22" name="SPP_Applicationname">
    <vt:lpwstr>Microsoft Office PowerPoint</vt:lpwstr>
  </property>
  <property fmtid="{D5CDD505-2E9C-101B-9397-08002B2CF9AE}" pid="23" name="SPP_Creationdate">
    <vt:lpwstr>18.11.2014</vt:lpwstr>
  </property>
  <property fmtid="{D5CDD505-2E9C-101B-9397-08002B2CF9AE}" pid="24" name="SPP_Lastsavetime">
    <vt:lpwstr>17.04.2018</vt:lpwstr>
  </property>
  <property fmtid="{D5CDD505-2E9C-101B-9397-08002B2CF9AE}" pid="25" name="SPP_Format">
    <vt:lpwstr>On-screen Show (4:3)</vt:lpwstr>
  </property>
  <property fmtid="{D5CDD505-2E9C-101B-9397-08002B2CF9AE}" pid="26" name="SPP_Company">
    <vt:lpwstr>KMD A/S</vt:lpwstr>
  </property>
  <property fmtid="{D5CDD505-2E9C-101B-9397-08002B2CF9AE}" pid="27" name="SD_IDVersion">
    <vt:lpwstr>[Værdifordokumentid]-v[Dokumentversion]</vt:lpwstr>
  </property>
</Properties>
</file>